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9" r:id="rId5"/>
    <p:sldMasterId id="2147483709" r:id="rId6"/>
  </p:sldMasterIdLst>
  <p:notesMasterIdLst>
    <p:notesMasterId r:id="rId18"/>
  </p:notesMasterIdLst>
  <p:sldIdLst>
    <p:sldId id="256" r:id="rId7"/>
    <p:sldId id="286" r:id="rId8"/>
    <p:sldId id="464" r:id="rId9"/>
    <p:sldId id="465" r:id="rId10"/>
    <p:sldId id="466" r:id="rId11"/>
    <p:sldId id="421" r:id="rId12"/>
    <p:sldId id="467" r:id="rId13"/>
    <p:sldId id="426" r:id="rId14"/>
    <p:sldId id="468" r:id="rId15"/>
    <p:sldId id="469" r:id="rId16"/>
    <p:sldId id="46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FA5EA02-AB0D-4CCF-A3CE-C60BE608E1F4}">
          <p14:sldIdLst>
            <p14:sldId id="256"/>
            <p14:sldId id="286"/>
            <p14:sldId id="464"/>
            <p14:sldId id="465"/>
            <p14:sldId id="466"/>
            <p14:sldId id="421"/>
            <p14:sldId id="467"/>
            <p14:sldId id="426"/>
            <p14:sldId id="468"/>
            <p14:sldId id="469"/>
            <p14:sldId id="46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Rogers" initials="DR" lastIdx="1" clrIdx="0">
    <p:extLst>
      <p:ext uri="{19B8F6BF-5375-455C-9EA6-DF929625EA0E}">
        <p15:presenceInfo xmlns:p15="http://schemas.microsoft.com/office/powerpoint/2012/main" userId="S::David.Rogers@Honeywell.com::f0459840-1019-4c0a-a5aa-eca932d2b5a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E6FD620-CCB9-4AE1-9A1B-E3CD264C1737}" v="53" dt="2024-11-09T00:15:50.7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5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38" y="3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yazaki, Yasutaka" userId="79e3c2ad-bf55-4fbd-9d50-b574289c8808" providerId="ADAL" clId="{CE6FD620-CCB9-4AE1-9A1B-E3CD264C1737}"/>
    <pc:docChg chg="undo custSel addSld delSld modSld sldOrd modSection">
      <pc:chgData name="Miyazaki, Yasutaka" userId="79e3c2ad-bf55-4fbd-9d50-b574289c8808" providerId="ADAL" clId="{CE6FD620-CCB9-4AE1-9A1B-E3CD264C1737}" dt="2024-11-09T01:11:01.625" v="7433" actId="5793"/>
      <pc:docMkLst>
        <pc:docMk/>
      </pc:docMkLst>
      <pc:sldChg chg="modSp mod">
        <pc:chgData name="Miyazaki, Yasutaka" userId="79e3c2ad-bf55-4fbd-9d50-b574289c8808" providerId="ADAL" clId="{CE6FD620-CCB9-4AE1-9A1B-E3CD264C1737}" dt="2024-11-06T20:08:38.368" v="3837" actId="403"/>
        <pc:sldMkLst>
          <pc:docMk/>
          <pc:sldMk cId="4220445746" sldId="256"/>
        </pc:sldMkLst>
        <pc:spChg chg="mod">
          <ac:chgData name="Miyazaki, Yasutaka" userId="79e3c2ad-bf55-4fbd-9d50-b574289c8808" providerId="ADAL" clId="{CE6FD620-CCB9-4AE1-9A1B-E3CD264C1737}" dt="2024-11-06T20:08:38.368" v="3837" actId="403"/>
          <ac:spMkLst>
            <pc:docMk/>
            <pc:sldMk cId="4220445746" sldId="256"/>
            <ac:spMk id="5" creationId="{B5199ED9-6791-4A0F-8448-366AE24FCFDE}"/>
          </ac:spMkLst>
        </pc:spChg>
      </pc:sldChg>
      <pc:sldChg chg="modSp mod">
        <pc:chgData name="Miyazaki, Yasutaka" userId="79e3c2ad-bf55-4fbd-9d50-b574289c8808" providerId="ADAL" clId="{CE6FD620-CCB9-4AE1-9A1B-E3CD264C1737}" dt="2024-11-09T00:48:33.239" v="6326" actId="20577"/>
        <pc:sldMkLst>
          <pc:docMk/>
          <pc:sldMk cId="2571172284" sldId="286"/>
        </pc:sldMkLst>
        <pc:spChg chg="mod">
          <ac:chgData name="Miyazaki, Yasutaka" userId="79e3c2ad-bf55-4fbd-9d50-b574289c8808" providerId="ADAL" clId="{CE6FD620-CCB9-4AE1-9A1B-E3CD264C1737}" dt="2024-11-09T00:48:33.239" v="6326" actId="20577"/>
          <ac:spMkLst>
            <pc:docMk/>
            <pc:sldMk cId="2571172284" sldId="286"/>
            <ac:spMk id="5" creationId="{7651C53A-7613-282C-F18F-91E9071B9C0B}"/>
          </ac:spMkLst>
        </pc:spChg>
      </pc:sldChg>
      <pc:sldChg chg="modSp add mod">
        <pc:chgData name="Miyazaki, Yasutaka" userId="79e3c2ad-bf55-4fbd-9d50-b574289c8808" providerId="ADAL" clId="{CE6FD620-CCB9-4AE1-9A1B-E3CD264C1737}" dt="2024-11-09T01:08:00.677" v="7404" actId="6549"/>
        <pc:sldMkLst>
          <pc:docMk/>
          <pc:sldMk cId="4023966360" sldId="421"/>
        </pc:sldMkLst>
        <pc:spChg chg="mod">
          <ac:chgData name="Miyazaki, Yasutaka" userId="79e3c2ad-bf55-4fbd-9d50-b574289c8808" providerId="ADAL" clId="{CE6FD620-CCB9-4AE1-9A1B-E3CD264C1737}" dt="2024-11-09T01:08:00.677" v="7404" actId="6549"/>
          <ac:spMkLst>
            <pc:docMk/>
            <pc:sldMk cId="4023966360" sldId="421"/>
            <ac:spMk id="6" creationId="{6139E2DB-EC41-41B9-B022-7B79ED9F6980}"/>
          </ac:spMkLst>
        </pc:spChg>
        <pc:picChg chg="mod">
          <ac:chgData name="Miyazaki, Yasutaka" userId="79e3c2ad-bf55-4fbd-9d50-b574289c8808" providerId="ADAL" clId="{CE6FD620-CCB9-4AE1-9A1B-E3CD264C1737}" dt="2024-11-09T00:34:06.968" v="6176" actId="14100"/>
          <ac:picMkLst>
            <pc:docMk/>
            <pc:sldMk cId="4023966360" sldId="421"/>
            <ac:picMk id="33" creationId="{31EDB5A2-8D0A-488C-8072-DC21D82A6EDE}"/>
          </ac:picMkLst>
        </pc:picChg>
      </pc:sldChg>
      <pc:sldChg chg="modSp mod">
        <pc:chgData name="Miyazaki, Yasutaka" userId="79e3c2ad-bf55-4fbd-9d50-b574289c8808" providerId="ADAL" clId="{CE6FD620-CCB9-4AE1-9A1B-E3CD264C1737}" dt="2024-11-02T03:12:27.784" v="3691" actId="27636"/>
        <pc:sldMkLst>
          <pc:docMk/>
          <pc:sldMk cId="2733340181" sldId="426"/>
        </pc:sldMkLst>
        <pc:spChg chg="mod">
          <ac:chgData name="Miyazaki, Yasutaka" userId="79e3c2ad-bf55-4fbd-9d50-b574289c8808" providerId="ADAL" clId="{CE6FD620-CCB9-4AE1-9A1B-E3CD264C1737}" dt="2024-11-02T02:28:55.907" v="2883" actId="6549"/>
          <ac:spMkLst>
            <pc:docMk/>
            <pc:sldMk cId="2733340181" sldId="426"/>
            <ac:spMk id="5" creationId="{620F7941-2E02-47FA-BD4A-BCA6CD1F6F23}"/>
          </ac:spMkLst>
        </pc:spChg>
        <pc:spChg chg="mod">
          <ac:chgData name="Miyazaki, Yasutaka" userId="79e3c2ad-bf55-4fbd-9d50-b574289c8808" providerId="ADAL" clId="{CE6FD620-CCB9-4AE1-9A1B-E3CD264C1737}" dt="2024-11-02T03:12:27.784" v="3691" actId="27636"/>
          <ac:spMkLst>
            <pc:docMk/>
            <pc:sldMk cId="2733340181" sldId="426"/>
            <ac:spMk id="6" creationId="{6139E2DB-EC41-41B9-B022-7B79ED9F6980}"/>
          </ac:spMkLst>
        </pc:spChg>
      </pc:sldChg>
      <pc:sldChg chg="del">
        <pc:chgData name="Miyazaki, Yasutaka" userId="79e3c2ad-bf55-4fbd-9d50-b574289c8808" providerId="ADAL" clId="{CE6FD620-CCB9-4AE1-9A1B-E3CD264C1737}" dt="2024-11-09T00:44:09.632" v="6262" actId="2696"/>
        <pc:sldMkLst>
          <pc:docMk/>
          <pc:sldMk cId="639409074" sldId="427"/>
        </pc:sldMkLst>
      </pc:sldChg>
      <pc:sldChg chg="del">
        <pc:chgData name="Miyazaki, Yasutaka" userId="79e3c2ad-bf55-4fbd-9d50-b574289c8808" providerId="ADAL" clId="{CE6FD620-CCB9-4AE1-9A1B-E3CD264C1737}" dt="2024-11-09T00:43:54.284" v="6259" actId="2696"/>
        <pc:sldMkLst>
          <pc:docMk/>
          <pc:sldMk cId="3097784735" sldId="436"/>
        </pc:sldMkLst>
      </pc:sldChg>
      <pc:sldChg chg="del">
        <pc:chgData name="Miyazaki, Yasutaka" userId="79e3c2ad-bf55-4fbd-9d50-b574289c8808" providerId="ADAL" clId="{CE6FD620-CCB9-4AE1-9A1B-E3CD264C1737}" dt="2024-11-09T00:44:04.056" v="6261" actId="2696"/>
        <pc:sldMkLst>
          <pc:docMk/>
          <pc:sldMk cId="373692857" sldId="437"/>
        </pc:sldMkLst>
      </pc:sldChg>
      <pc:sldChg chg="del">
        <pc:chgData name="Miyazaki, Yasutaka" userId="79e3c2ad-bf55-4fbd-9d50-b574289c8808" providerId="ADAL" clId="{CE6FD620-CCB9-4AE1-9A1B-E3CD264C1737}" dt="2024-11-09T00:44:00.494" v="6260" actId="2696"/>
        <pc:sldMkLst>
          <pc:docMk/>
          <pc:sldMk cId="90850427" sldId="440"/>
        </pc:sldMkLst>
      </pc:sldChg>
      <pc:sldChg chg="modSp mod">
        <pc:chgData name="Miyazaki, Yasutaka" userId="79e3c2ad-bf55-4fbd-9d50-b574289c8808" providerId="ADAL" clId="{CE6FD620-CCB9-4AE1-9A1B-E3CD264C1737}" dt="2024-11-09T00:46:19.609" v="6297" actId="20577"/>
        <pc:sldMkLst>
          <pc:docMk/>
          <pc:sldMk cId="3474371890" sldId="460"/>
        </pc:sldMkLst>
        <pc:spChg chg="mod">
          <ac:chgData name="Miyazaki, Yasutaka" userId="79e3c2ad-bf55-4fbd-9d50-b574289c8808" providerId="ADAL" clId="{CE6FD620-CCB9-4AE1-9A1B-E3CD264C1737}" dt="2024-11-09T00:46:19.609" v="6297" actId="20577"/>
          <ac:spMkLst>
            <pc:docMk/>
            <pc:sldMk cId="3474371890" sldId="460"/>
            <ac:spMk id="2" creationId="{651026BF-AF86-449B-92E9-2911C16FC156}"/>
          </ac:spMkLst>
        </pc:spChg>
      </pc:sldChg>
      <pc:sldChg chg="del">
        <pc:chgData name="Miyazaki, Yasutaka" userId="79e3c2ad-bf55-4fbd-9d50-b574289c8808" providerId="ADAL" clId="{CE6FD620-CCB9-4AE1-9A1B-E3CD264C1737}" dt="2024-11-09T00:43:43.757" v="6257" actId="2696"/>
        <pc:sldMkLst>
          <pc:docMk/>
          <pc:sldMk cId="726092728" sldId="461"/>
        </pc:sldMkLst>
      </pc:sldChg>
      <pc:sldChg chg="del">
        <pc:chgData name="Miyazaki, Yasutaka" userId="79e3c2ad-bf55-4fbd-9d50-b574289c8808" providerId="ADAL" clId="{CE6FD620-CCB9-4AE1-9A1B-E3CD264C1737}" dt="2024-11-09T00:43:49.899" v="6258" actId="2696"/>
        <pc:sldMkLst>
          <pc:docMk/>
          <pc:sldMk cId="1468004867" sldId="462"/>
        </pc:sldMkLst>
      </pc:sldChg>
      <pc:sldChg chg="addSp delSp modSp del mod">
        <pc:chgData name="Miyazaki, Yasutaka" userId="79e3c2ad-bf55-4fbd-9d50-b574289c8808" providerId="ADAL" clId="{CE6FD620-CCB9-4AE1-9A1B-E3CD264C1737}" dt="2024-11-08T23:34:35.838" v="5377" actId="2696"/>
        <pc:sldMkLst>
          <pc:docMk/>
          <pc:sldMk cId="958673088" sldId="463"/>
        </pc:sldMkLst>
        <pc:spChg chg="mod">
          <ac:chgData name="Miyazaki, Yasutaka" userId="79e3c2ad-bf55-4fbd-9d50-b574289c8808" providerId="ADAL" clId="{CE6FD620-CCB9-4AE1-9A1B-E3CD264C1737}" dt="2024-11-06T01:39:09.500" v="3736" actId="6549"/>
          <ac:spMkLst>
            <pc:docMk/>
            <pc:sldMk cId="958673088" sldId="463"/>
            <ac:spMk id="5" creationId="{94FA579E-8102-0307-C424-3EC6FDC79018}"/>
          </ac:spMkLst>
        </pc:spChg>
        <pc:spChg chg="mod">
          <ac:chgData name="Miyazaki, Yasutaka" userId="79e3c2ad-bf55-4fbd-9d50-b574289c8808" providerId="ADAL" clId="{CE6FD620-CCB9-4AE1-9A1B-E3CD264C1737}" dt="2024-11-06T02:02:35.676" v="3738" actId="27636"/>
          <ac:spMkLst>
            <pc:docMk/>
            <pc:sldMk cId="958673088" sldId="463"/>
            <ac:spMk id="6" creationId="{0E6EFCEC-7E6E-1CB7-11AA-B80CBB51CC18}"/>
          </ac:spMkLst>
        </pc:spChg>
        <pc:spChg chg="del">
          <ac:chgData name="Miyazaki, Yasutaka" userId="79e3c2ad-bf55-4fbd-9d50-b574289c8808" providerId="ADAL" clId="{CE6FD620-CCB9-4AE1-9A1B-E3CD264C1737}" dt="2024-11-06T02:09:56.333" v="3804" actId="478"/>
          <ac:spMkLst>
            <pc:docMk/>
            <pc:sldMk cId="958673088" sldId="463"/>
            <ac:spMk id="12" creationId="{690DEBFC-2C55-6C69-6FC4-58C59A5689A2}"/>
          </ac:spMkLst>
        </pc:spChg>
        <pc:graphicFrameChg chg="add del mod modGraphic">
          <ac:chgData name="Miyazaki, Yasutaka" userId="79e3c2ad-bf55-4fbd-9d50-b574289c8808" providerId="ADAL" clId="{CE6FD620-CCB9-4AE1-9A1B-E3CD264C1737}" dt="2024-11-06T02:10:04.201" v="3806" actId="478"/>
          <ac:graphicFrameMkLst>
            <pc:docMk/>
            <pc:sldMk cId="958673088" sldId="463"/>
            <ac:graphicFrameMk id="2" creationId="{E9B4A8A5-73C2-C3BA-D825-AC5B5B15C0E3}"/>
          </ac:graphicFrameMkLst>
        </pc:graphicFrameChg>
        <pc:graphicFrameChg chg="add del mod modGraphic">
          <ac:chgData name="Miyazaki, Yasutaka" userId="79e3c2ad-bf55-4fbd-9d50-b574289c8808" providerId="ADAL" clId="{CE6FD620-CCB9-4AE1-9A1B-E3CD264C1737}" dt="2024-11-06T02:03:47.111" v="3747" actId="3680"/>
          <ac:graphicFrameMkLst>
            <pc:docMk/>
            <pc:sldMk cId="958673088" sldId="463"/>
            <ac:graphicFrameMk id="3" creationId="{F09EE1E2-67B1-D87C-8E08-B101F94D32A1}"/>
          </ac:graphicFrameMkLst>
        </pc:graphicFrameChg>
        <pc:graphicFrameChg chg="add mod modGraphic">
          <ac:chgData name="Miyazaki, Yasutaka" userId="79e3c2ad-bf55-4fbd-9d50-b574289c8808" providerId="ADAL" clId="{CE6FD620-CCB9-4AE1-9A1B-E3CD264C1737}" dt="2024-11-08T22:34:39.826" v="3842" actId="1076"/>
          <ac:graphicFrameMkLst>
            <pc:docMk/>
            <pc:sldMk cId="958673088" sldId="463"/>
            <ac:graphicFrameMk id="7" creationId="{98E3822B-6ECE-3CB1-5976-63626CDC9ABB}"/>
          </ac:graphicFrameMkLst>
        </pc:graphicFrameChg>
      </pc:sldChg>
      <pc:sldChg chg="addSp delSp modSp add mod">
        <pc:chgData name="Miyazaki, Yasutaka" userId="79e3c2ad-bf55-4fbd-9d50-b574289c8808" providerId="ADAL" clId="{CE6FD620-CCB9-4AE1-9A1B-E3CD264C1737}" dt="2024-11-02T02:36:47.569" v="2891" actId="12"/>
        <pc:sldMkLst>
          <pc:docMk/>
          <pc:sldMk cId="894022043" sldId="464"/>
        </pc:sldMkLst>
        <pc:spChg chg="mod">
          <ac:chgData name="Miyazaki, Yasutaka" userId="79e3c2ad-bf55-4fbd-9d50-b574289c8808" providerId="ADAL" clId="{CE6FD620-CCB9-4AE1-9A1B-E3CD264C1737}" dt="2024-11-01T01:13:47.520" v="1261" actId="1076"/>
          <ac:spMkLst>
            <pc:docMk/>
            <pc:sldMk cId="894022043" sldId="464"/>
            <ac:spMk id="4" creationId="{A4BEB804-3EF3-9DB7-99CA-F23810EDDC21}"/>
          </ac:spMkLst>
        </pc:spChg>
        <pc:spChg chg="mod">
          <ac:chgData name="Miyazaki, Yasutaka" userId="79e3c2ad-bf55-4fbd-9d50-b574289c8808" providerId="ADAL" clId="{CE6FD620-CCB9-4AE1-9A1B-E3CD264C1737}" dt="2024-11-01T00:42:48.940" v="616" actId="1076"/>
          <ac:spMkLst>
            <pc:docMk/>
            <pc:sldMk cId="894022043" sldId="464"/>
            <ac:spMk id="5" creationId="{A6085E57-1807-D50D-23EF-751B745FBBD4}"/>
          </ac:spMkLst>
        </pc:spChg>
        <pc:spChg chg="mod">
          <ac:chgData name="Miyazaki, Yasutaka" userId="79e3c2ad-bf55-4fbd-9d50-b574289c8808" providerId="ADAL" clId="{CE6FD620-CCB9-4AE1-9A1B-E3CD264C1737}" dt="2024-11-02T02:36:47.569" v="2891" actId="12"/>
          <ac:spMkLst>
            <pc:docMk/>
            <pc:sldMk cId="894022043" sldId="464"/>
            <ac:spMk id="6" creationId="{BAB4B365-5054-5D72-274B-416F497B658A}"/>
          </ac:spMkLst>
        </pc:spChg>
        <pc:spChg chg="mod topLvl">
          <ac:chgData name="Miyazaki, Yasutaka" userId="79e3c2ad-bf55-4fbd-9d50-b574289c8808" providerId="ADAL" clId="{CE6FD620-CCB9-4AE1-9A1B-E3CD264C1737}" dt="2024-11-01T00:55:57.663" v="895" actId="1037"/>
          <ac:spMkLst>
            <pc:docMk/>
            <pc:sldMk cId="894022043" sldId="464"/>
            <ac:spMk id="9" creationId="{520D56EA-0E49-FB6F-7D88-94B8D43BAFB4}"/>
          </ac:spMkLst>
        </pc:spChg>
        <pc:spChg chg="del mod topLvl">
          <ac:chgData name="Miyazaki, Yasutaka" userId="79e3c2ad-bf55-4fbd-9d50-b574289c8808" providerId="ADAL" clId="{CE6FD620-CCB9-4AE1-9A1B-E3CD264C1737}" dt="2024-11-01T01:04:20.020" v="988" actId="478"/>
          <ac:spMkLst>
            <pc:docMk/>
            <pc:sldMk cId="894022043" sldId="464"/>
            <ac:spMk id="15" creationId="{14A048C3-A6F9-3533-9BF0-5EDEA8B947E9}"/>
          </ac:spMkLst>
        </pc:spChg>
        <pc:spChg chg="add del mod or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18" creationId="{C1283418-F8D0-1CA9-C8C7-5B568161A14B}"/>
          </ac:spMkLst>
        </pc:spChg>
        <pc:spChg chg="add mod or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19" creationId="{145B1E60-7355-4C94-A8DB-00A87A07B98A}"/>
          </ac:spMkLst>
        </pc:spChg>
        <pc:spChg chg="mod topLvl">
          <ac:chgData name="Miyazaki, Yasutaka" userId="79e3c2ad-bf55-4fbd-9d50-b574289c8808" providerId="ADAL" clId="{CE6FD620-CCB9-4AE1-9A1B-E3CD264C1737}" dt="2024-11-01T00:56:09.533" v="896" actId="1076"/>
          <ac:spMkLst>
            <pc:docMk/>
            <pc:sldMk cId="894022043" sldId="464"/>
            <ac:spMk id="32" creationId="{8963BE1C-953B-E7BD-360B-723A3971F4D9}"/>
          </ac:spMkLst>
        </pc:spChg>
        <pc:spChg chg="mod topLvl">
          <ac:chgData name="Miyazaki, Yasutaka" userId="79e3c2ad-bf55-4fbd-9d50-b574289c8808" providerId="ADAL" clId="{CE6FD620-CCB9-4AE1-9A1B-E3CD264C1737}" dt="2024-11-02T01:40:57.306" v="1829" actId="6549"/>
          <ac:spMkLst>
            <pc:docMk/>
            <pc:sldMk cId="894022043" sldId="464"/>
            <ac:spMk id="33" creationId="{D8F1EB1F-6D05-B51D-E10D-20EE44BCDC28}"/>
          </ac:spMkLst>
        </pc:spChg>
        <pc:spChg chg="del mod topLvl">
          <ac:chgData name="Miyazaki, Yasutaka" userId="79e3c2ad-bf55-4fbd-9d50-b574289c8808" providerId="ADAL" clId="{CE6FD620-CCB9-4AE1-9A1B-E3CD264C1737}" dt="2024-11-01T00:55:17.770" v="879" actId="478"/>
          <ac:spMkLst>
            <pc:docMk/>
            <pc:sldMk cId="894022043" sldId="464"/>
            <ac:spMk id="36" creationId="{D132E475-C356-0B04-6BCF-CE8ACFA5B488}"/>
          </ac:spMkLst>
        </pc:spChg>
        <pc:spChg chg="del mod topLvl">
          <ac:chgData name="Miyazaki, Yasutaka" userId="79e3c2ad-bf55-4fbd-9d50-b574289c8808" providerId="ADAL" clId="{CE6FD620-CCB9-4AE1-9A1B-E3CD264C1737}" dt="2024-11-01T01:20:16.508" v="1360" actId="478"/>
          <ac:spMkLst>
            <pc:docMk/>
            <pc:sldMk cId="894022043" sldId="464"/>
            <ac:spMk id="37" creationId="{0E03A38D-45A7-F95E-B623-53470266F71B}"/>
          </ac:spMkLst>
        </pc:spChg>
        <pc:spChg chg="mod topLvl">
          <ac:chgData name="Miyazaki, Yasutaka" userId="79e3c2ad-bf55-4fbd-9d50-b574289c8808" providerId="ADAL" clId="{CE6FD620-CCB9-4AE1-9A1B-E3CD264C1737}" dt="2024-11-01T00:50:07.434" v="763" actId="207"/>
          <ac:spMkLst>
            <pc:docMk/>
            <pc:sldMk cId="894022043" sldId="464"/>
            <ac:spMk id="41" creationId="{4A2CB6F0-5B0F-C971-B2F8-E7B4953AAD4C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43" creationId="{E62E5513-AC2F-1C7A-FAC0-FE6A198681B1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45" creationId="{8998CB1E-202B-4BFA-8728-5BD64FEBD983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46" creationId="{8F9BAFFA-E3F8-949B-7FD7-F071C23C55D0}"/>
          </ac:spMkLst>
        </pc:spChg>
        <pc:spChg chg="add del mod">
          <ac:chgData name="Miyazaki, Yasutaka" userId="79e3c2ad-bf55-4fbd-9d50-b574289c8808" providerId="ADAL" clId="{CE6FD620-CCB9-4AE1-9A1B-E3CD264C1737}" dt="2024-11-01T01:20:20.320" v="1362" actId="478"/>
          <ac:spMkLst>
            <pc:docMk/>
            <pc:sldMk cId="894022043" sldId="464"/>
            <ac:spMk id="48" creationId="{53AFD8F2-41A2-7F0A-F6E5-72D27E4AAF1E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50" creationId="{968CAC62-373B-A645-4F00-0FD9F3557CEC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51" creationId="{87652117-06AD-5842-5493-7015668A69E9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59" creationId="{AC7EB8EF-8B37-F486-7526-7428A0E5887F}"/>
          </ac:spMkLst>
        </pc:spChg>
        <pc:spChg chg="add del mod">
          <ac:chgData name="Miyazaki, Yasutaka" userId="79e3c2ad-bf55-4fbd-9d50-b574289c8808" providerId="ADAL" clId="{CE6FD620-CCB9-4AE1-9A1B-E3CD264C1737}" dt="2024-11-01T01:20:21.194" v="1363" actId="478"/>
          <ac:spMkLst>
            <pc:docMk/>
            <pc:sldMk cId="894022043" sldId="464"/>
            <ac:spMk id="60" creationId="{B4624662-9865-0C56-096B-A33BD6783D35}"/>
          </ac:spMkLst>
        </pc:spChg>
        <pc:spChg chg="add del mod">
          <ac:chgData name="Miyazaki, Yasutaka" userId="79e3c2ad-bf55-4fbd-9d50-b574289c8808" providerId="ADAL" clId="{CE6FD620-CCB9-4AE1-9A1B-E3CD264C1737}" dt="2024-11-01T01:20:17.908" v="1361" actId="478"/>
          <ac:spMkLst>
            <pc:docMk/>
            <pc:sldMk cId="894022043" sldId="464"/>
            <ac:spMk id="61" creationId="{24E02F28-2A45-28F3-4669-AA231EBC80AC}"/>
          </ac:spMkLst>
        </pc:spChg>
        <pc:spChg chg="add mod">
          <ac:chgData name="Miyazaki, Yasutaka" userId="79e3c2ad-bf55-4fbd-9d50-b574289c8808" providerId="ADAL" clId="{CE6FD620-CCB9-4AE1-9A1B-E3CD264C1737}" dt="2024-11-01T01:06:11.053" v="1046"/>
          <ac:spMkLst>
            <pc:docMk/>
            <pc:sldMk cId="894022043" sldId="464"/>
            <ac:spMk id="62" creationId="{6C90D31D-6980-A192-56BC-9FCA56C4601A}"/>
          </ac:spMkLst>
        </pc:spChg>
        <pc:spChg chg="add mod">
          <ac:chgData name="Miyazaki, Yasutaka" userId="79e3c2ad-bf55-4fbd-9d50-b574289c8808" providerId="ADAL" clId="{CE6FD620-CCB9-4AE1-9A1B-E3CD264C1737}" dt="2024-11-02T01:41:00.428" v="1831" actId="20577"/>
          <ac:spMkLst>
            <pc:docMk/>
            <pc:sldMk cId="894022043" sldId="464"/>
            <ac:spMk id="68" creationId="{B36A66A9-6C43-A10F-428D-89CB9AA021E4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72" creationId="{4CD9152F-F598-61EF-E46E-EB2BB8A12DA2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75" creationId="{A5DB0DC4-AD63-7923-2EF2-EC3F357EC0A2}"/>
          </ac:spMkLst>
        </pc:spChg>
        <pc:spChg chg="add del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76" creationId="{6C194811-BE30-C3ED-9A63-9AA7EC5BDC4F}"/>
          </ac:spMkLst>
        </pc:spChg>
        <pc:spChg chg="add mod">
          <ac:chgData name="Miyazaki, Yasutaka" userId="79e3c2ad-bf55-4fbd-9d50-b574289c8808" providerId="ADAL" clId="{CE6FD620-CCB9-4AE1-9A1B-E3CD264C1737}" dt="2024-11-01T01:20:38.562" v="1364" actId="164"/>
          <ac:spMkLst>
            <pc:docMk/>
            <pc:sldMk cId="894022043" sldId="464"/>
            <ac:spMk id="77" creationId="{8C64365E-ABB7-7EB2-5D16-5DFF97C6D83D}"/>
          </ac:spMkLst>
        </pc:spChg>
        <pc:grpChg chg="add mod">
          <ac:chgData name="Miyazaki, Yasutaka" userId="79e3c2ad-bf55-4fbd-9d50-b574289c8808" providerId="ADAL" clId="{CE6FD620-CCB9-4AE1-9A1B-E3CD264C1737}" dt="2024-11-01T01:20:38.562" v="1364" actId="164"/>
          <ac:grpSpMkLst>
            <pc:docMk/>
            <pc:sldMk cId="894022043" sldId="464"/>
            <ac:grpSpMk id="16" creationId="{2CA7A4DF-6722-6A18-715A-1A5204B61104}"/>
          </ac:grpSpMkLst>
        </pc:grpChg>
        <pc:grpChg chg="del mod">
          <ac:chgData name="Miyazaki, Yasutaka" userId="79e3c2ad-bf55-4fbd-9d50-b574289c8808" providerId="ADAL" clId="{CE6FD620-CCB9-4AE1-9A1B-E3CD264C1737}" dt="2024-11-01T00:34:40.947" v="453" actId="165"/>
          <ac:grpSpMkLst>
            <pc:docMk/>
            <pc:sldMk cId="894022043" sldId="464"/>
            <ac:grpSpMk id="42" creationId="{AF6A4139-059F-1181-91F7-D83B6CE8CB64}"/>
          </ac:grpSpMkLst>
        </pc:grpChg>
        <pc:grpChg chg="add mod">
          <ac:chgData name="Miyazaki, Yasutaka" userId="79e3c2ad-bf55-4fbd-9d50-b574289c8808" providerId="ADAL" clId="{CE6FD620-CCB9-4AE1-9A1B-E3CD264C1737}" dt="2024-11-02T01:42:08.770" v="1860" actId="1076"/>
          <ac:grpSpMkLst>
            <pc:docMk/>
            <pc:sldMk cId="894022043" sldId="464"/>
            <ac:grpSpMk id="83" creationId="{30D08DBF-917D-8A3B-76BE-8EB35673CDB2}"/>
          </ac:grpSpMkLst>
        </pc:grpChg>
        <pc:picChg chg="mod topLvl">
          <ac:chgData name="Miyazaki, Yasutaka" userId="79e3c2ad-bf55-4fbd-9d50-b574289c8808" providerId="ADAL" clId="{CE6FD620-CCB9-4AE1-9A1B-E3CD264C1737}" dt="2024-11-01T01:12:52.023" v="1232" actId="1036"/>
          <ac:picMkLst>
            <pc:docMk/>
            <pc:sldMk cId="894022043" sldId="464"/>
            <ac:picMk id="38" creationId="{79DEBDFA-973F-F51F-CFC5-52929C966545}"/>
          </ac:picMkLst>
        </pc:picChg>
        <pc:cxnChg chg="add mod">
          <ac:chgData name="Miyazaki, Yasutaka" userId="79e3c2ad-bf55-4fbd-9d50-b574289c8808" providerId="ADAL" clId="{CE6FD620-CCB9-4AE1-9A1B-E3CD264C1737}" dt="2024-11-01T01:12:38.836" v="1228" actId="14100"/>
          <ac:cxnSpMkLst>
            <pc:docMk/>
            <pc:sldMk cId="894022043" sldId="464"/>
            <ac:cxnSpMk id="2" creationId="{E2F1C55F-6EE4-D173-16AE-A2CEEFE95CF4}"/>
          </ac:cxnSpMkLst>
        </pc:cxnChg>
        <pc:cxnChg chg="del mod topLvl">
          <ac:chgData name="Miyazaki, Yasutaka" userId="79e3c2ad-bf55-4fbd-9d50-b574289c8808" providerId="ADAL" clId="{CE6FD620-CCB9-4AE1-9A1B-E3CD264C1737}" dt="2024-11-01T00:52:36.549" v="792" actId="478"/>
          <ac:cxnSpMkLst>
            <pc:docMk/>
            <pc:sldMk cId="894022043" sldId="464"/>
            <ac:cxnSpMk id="10" creationId="{BDC320D3-37F7-4C79-6CAC-8A8181EF1649}"/>
          </ac:cxnSpMkLst>
        </pc:cxnChg>
        <pc:cxnChg chg="del mod topLvl">
          <ac:chgData name="Miyazaki, Yasutaka" userId="79e3c2ad-bf55-4fbd-9d50-b574289c8808" providerId="ADAL" clId="{CE6FD620-CCB9-4AE1-9A1B-E3CD264C1737}" dt="2024-11-01T00:42:54.792" v="617" actId="478"/>
          <ac:cxnSpMkLst>
            <pc:docMk/>
            <pc:sldMk cId="894022043" sldId="464"/>
            <ac:cxnSpMk id="23" creationId="{E4BC4402-2E78-5561-323A-C4FB45EFCCF9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26" creationId="{E6B00013-5F6E-9ACA-EB6D-DDA3F8BB8274}"/>
          </ac:cxnSpMkLst>
        </pc:cxnChg>
        <pc:cxnChg chg="mod topLvl">
          <ac:chgData name="Miyazaki, Yasutaka" userId="79e3c2ad-bf55-4fbd-9d50-b574289c8808" providerId="ADAL" clId="{CE6FD620-CCB9-4AE1-9A1B-E3CD264C1737}" dt="2024-11-01T01:10:17.910" v="1122" actId="1036"/>
          <ac:cxnSpMkLst>
            <pc:docMk/>
            <pc:sldMk cId="894022043" sldId="464"/>
            <ac:cxnSpMk id="27" creationId="{D8115DEF-5614-0373-7924-C2E600858DD1}"/>
          </ac:cxnSpMkLst>
        </pc:cxnChg>
        <pc:cxnChg chg="mod topLvl">
          <ac:chgData name="Miyazaki, Yasutaka" userId="79e3c2ad-bf55-4fbd-9d50-b574289c8808" providerId="ADAL" clId="{CE6FD620-CCB9-4AE1-9A1B-E3CD264C1737}" dt="2024-11-01T01:02:02.523" v="945" actId="14100"/>
          <ac:cxnSpMkLst>
            <pc:docMk/>
            <pc:sldMk cId="894022043" sldId="464"/>
            <ac:cxnSpMk id="34" creationId="{3060F4BC-7A5F-AF8A-B754-26380A454D72}"/>
          </ac:cxnSpMkLst>
        </pc:cxnChg>
        <pc:cxnChg chg="del mod topLvl">
          <ac:chgData name="Miyazaki, Yasutaka" userId="79e3c2ad-bf55-4fbd-9d50-b574289c8808" providerId="ADAL" clId="{CE6FD620-CCB9-4AE1-9A1B-E3CD264C1737}" dt="2024-11-01T00:52:38.713" v="793" actId="478"/>
          <ac:cxnSpMkLst>
            <pc:docMk/>
            <pc:sldMk cId="894022043" sldId="464"/>
            <ac:cxnSpMk id="35" creationId="{4199B825-8CFD-54A0-E6D6-D86B7090ABA5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47" creationId="{167E049C-88B1-B2F3-25AB-831DDC22E2C3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52" creationId="{53200334-B319-21D4-303C-A1543D9D6E33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63" creationId="{35B0B64C-07E0-8C61-5F1E-9794E31AB07A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66" creationId="{20A6823B-EC41-CFB5-C9FE-11469FA146A9}"/>
          </ac:cxnSpMkLst>
        </pc:cxnChg>
        <pc:cxnChg chg="add del">
          <ac:chgData name="Miyazaki, Yasutaka" userId="79e3c2ad-bf55-4fbd-9d50-b574289c8808" providerId="ADAL" clId="{CE6FD620-CCB9-4AE1-9A1B-E3CD264C1737}" dt="2024-11-01T01:15:04.931" v="1264" actId="11529"/>
          <ac:cxnSpMkLst>
            <pc:docMk/>
            <pc:sldMk cId="894022043" sldId="464"/>
            <ac:cxnSpMk id="74" creationId="{1D9522A0-3D83-2886-A338-749956F6E19E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78" creationId="{ED079EA7-B84B-1346-4502-94982AE8B3F6}"/>
          </ac:cxnSpMkLst>
        </pc:cxnChg>
        <pc:cxnChg chg="add mod">
          <ac:chgData name="Miyazaki, Yasutaka" userId="79e3c2ad-bf55-4fbd-9d50-b574289c8808" providerId="ADAL" clId="{CE6FD620-CCB9-4AE1-9A1B-E3CD264C1737}" dt="2024-11-01T01:20:38.562" v="1364" actId="164"/>
          <ac:cxnSpMkLst>
            <pc:docMk/>
            <pc:sldMk cId="894022043" sldId="464"/>
            <ac:cxnSpMk id="82" creationId="{F1611495-D146-4CA7-BE8B-48532BFEAB88}"/>
          </ac:cxnSpMkLst>
        </pc:cxnChg>
      </pc:sldChg>
      <pc:sldChg chg="addSp delSp modSp add mod">
        <pc:chgData name="Miyazaki, Yasutaka" userId="79e3c2ad-bf55-4fbd-9d50-b574289c8808" providerId="ADAL" clId="{CE6FD620-CCB9-4AE1-9A1B-E3CD264C1737}" dt="2024-11-09T00:44:37.239" v="6270" actId="20577"/>
        <pc:sldMkLst>
          <pc:docMk/>
          <pc:sldMk cId="2712141139" sldId="465"/>
        </pc:sldMkLst>
        <pc:spChg chg="mod">
          <ac:chgData name="Miyazaki, Yasutaka" userId="79e3c2ad-bf55-4fbd-9d50-b574289c8808" providerId="ADAL" clId="{CE6FD620-CCB9-4AE1-9A1B-E3CD264C1737}" dt="2024-11-09T00:44:37.239" v="6270" actId="20577"/>
          <ac:spMkLst>
            <pc:docMk/>
            <pc:sldMk cId="2712141139" sldId="465"/>
            <ac:spMk id="5" creationId="{A6085E57-1807-D50D-23EF-751B745FBBD4}"/>
          </ac:spMkLst>
        </pc:spChg>
        <pc:spChg chg="mod">
          <ac:chgData name="Miyazaki, Yasutaka" userId="79e3c2ad-bf55-4fbd-9d50-b574289c8808" providerId="ADAL" clId="{CE6FD620-CCB9-4AE1-9A1B-E3CD264C1737}" dt="2024-11-02T02:37:06.180" v="2892" actId="12"/>
          <ac:spMkLst>
            <pc:docMk/>
            <pc:sldMk cId="2712141139" sldId="465"/>
            <ac:spMk id="6" creationId="{BAB4B365-5054-5D72-274B-416F497B658A}"/>
          </ac:spMkLst>
        </pc:spChg>
        <pc:spChg chg="mod topLvl">
          <ac:chgData name="Miyazaki, Yasutaka" userId="79e3c2ad-bf55-4fbd-9d50-b574289c8808" providerId="ADAL" clId="{CE6FD620-CCB9-4AE1-9A1B-E3CD264C1737}" dt="2024-11-02T02:10:01.881" v="2781" actId="164"/>
          <ac:spMkLst>
            <pc:docMk/>
            <pc:sldMk cId="2712141139" sldId="465"/>
            <ac:spMk id="12" creationId="{6943B062-93F8-BAF3-C916-A5EC44C33DAB}"/>
          </ac:spMkLst>
        </pc:spChg>
        <pc:spChg chg="mod topLvl">
          <ac:chgData name="Miyazaki, Yasutaka" userId="79e3c2ad-bf55-4fbd-9d50-b574289c8808" providerId="ADAL" clId="{CE6FD620-CCB9-4AE1-9A1B-E3CD264C1737}" dt="2024-11-02T02:10:01.881" v="2781" actId="164"/>
          <ac:spMkLst>
            <pc:docMk/>
            <pc:sldMk cId="2712141139" sldId="465"/>
            <ac:spMk id="13" creationId="{8E50BF9D-8782-D299-51AF-147987A0E043}"/>
          </ac:spMkLst>
        </pc:spChg>
        <pc:spChg chg="mod topLvl">
          <ac:chgData name="Miyazaki, Yasutaka" userId="79e3c2ad-bf55-4fbd-9d50-b574289c8808" providerId="ADAL" clId="{CE6FD620-CCB9-4AE1-9A1B-E3CD264C1737}" dt="2024-11-02T02:10:01.881" v="2781" actId="164"/>
          <ac:spMkLst>
            <pc:docMk/>
            <pc:sldMk cId="2712141139" sldId="465"/>
            <ac:spMk id="17" creationId="{E1BC5FEE-7966-5601-83A3-F691937F0C8D}"/>
          </ac:spMkLst>
        </pc:spChg>
        <pc:spChg chg="del mod">
          <ac:chgData name="Miyazaki, Yasutaka" userId="79e3c2ad-bf55-4fbd-9d50-b574289c8808" providerId="ADAL" clId="{CE6FD620-CCB9-4AE1-9A1B-E3CD264C1737}" dt="2024-11-02T02:00:09.549" v="2621" actId="478"/>
          <ac:spMkLst>
            <pc:docMk/>
            <pc:sldMk cId="2712141139" sldId="465"/>
            <ac:spMk id="20" creationId="{F41EC896-4E30-78CE-3164-2BEFA4BA37FE}"/>
          </ac:spMkLst>
        </pc:spChg>
        <pc:spChg chg="del mod">
          <ac:chgData name="Miyazaki, Yasutaka" userId="79e3c2ad-bf55-4fbd-9d50-b574289c8808" providerId="ADAL" clId="{CE6FD620-CCB9-4AE1-9A1B-E3CD264C1737}" dt="2024-11-02T02:00:11.534" v="2622" actId="478"/>
          <ac:spMkLst>
            <pc:docMk/>
            <pc:sldMk cId="2712141139" sldId="465"/>
            <ac:spMk id="21" creationId="{69647D59-51B3-06ED-0F9D-94EE0A4B8F32}"/>
          </ac:spMkLst>
        </pc:spChg>
        <pc:spChg chg="del mod">
          <ac:chgData name="Miyazaki, Yasutaka" userId="79e3c2ad-bf55-4fbd-9d50-b574289c8808" providerId="ADAL" clId="{CE6FD620-CCB9-4AE1-9A1B-E3CD264C1737}" dt="2024-11-02T02:00:19.224" v="2624" actId="478"/>
          <ac:spMkLst>
            <pc:docMk/>
            <pc:sldMk cId="2712141139" sldId="465"/>
            <ac:spMk id="23" creationId="{27FFAD03-D66D-BCAE-0E79-F003B37CFD94}"/>
          </ac:spMkLst>
        </pc:spChg>
        <pc:spChg chg="del mod">
          <ac:chgData name="Miyazaki, Yasutaka" userId="79e3c2ad-bf55-4fbd-9d50-b574289c8808" providerId="ADAL" clId="{CE6FD620-CCB9-4AE1-9A1B-E3CD264C1737}" dt="2024-11-02T02:00:14.319" v="2623" actId="478"/>
          <ac:spMkLst>
            <pc:docMk/>
            <pc:sldMk cId="2712141139" sldId="465"/>
            <ac:spMk id="24" creationId="{CCACFDF3-14E2-5B7E-1F6D-C99DCCCBABEB}"/>
          </ac:spMkLst>
        </pc:spChg>
        <pc:spChg chg="mod topLvl">
          <ac:chgData name="Miyazaki, Yasutaka" userId="79e3c2ad-bf55-4fbd-9d50-b574289c8808" providerId="ADAL" clId="{CE6FD620-CCB9-4AE1-9A1B-E3CD264C1737}" dt="2024-11-02T02:10:01.881" v="2781" actId="164"/>
          <ac:spMkLst>
            <pc:docMk/>
            <pc:sldMk cId="2712141139" sldId="465"/>
            <ac:spMk id="28" creationId="{EA78E5CA-2843-A19B-7DAB-7CEC68D11C6C}"/>
          </ac:spMkLst>
        </pc:spChg>
        <pc:spChg chg="mod topLvl">
          <ac:chgData name="Miyazaki, Yasutaka" userId="79e3c2ad-bf55-4fbd-9d50-b574289c8808" providerId="ADAL" clId="{CE6FD620-CCB9-4AE1-9A1B-E3CD264C1737}" dt="2024-11-02T02:10:01.881" v="2781" actId="164"/>
          <ac:spMkLst>
            <pc:docMk/>
            <pc:sldMk cId="2712141139" sldId="465"/>
            <ac:spMk id="31" creationId="{5E71CB06-DB59-6577-57E0-11F4721A5961}"/>
          </ac:spMkLst>
        </pc:spChg>
        <pc:spChg chg="mod topLvl">
          <ac:chgData name="Miyazaki, Yasutaka" userId="79e3c2ad-bf55-4fbd-9d50-b574289c8808" providerId="ADAL" clId="{CE6FD620-CCB9-4AE1-9A1B-E3CD264C1737}" dt="2024-11-02T02:10:01.881" v="2781" actId="164"/>
          <ac:spMkLst>
            <pc:docMk/>
            <pc:sldMk cId="2712141139" sldId="465"/>
            <ac:spMk id="35" creationId="{915B724E-6665-AD27-0C78-67203DAC36A3}"/>
          </ac:spMkLst>
        </pc:spChg>
        <pc:spChg chg="del mod">
          <ac:chgData name="Miyazaki, Yasutaka" userId="79e3c2ad-bf55-4fbd-9d50-b574289c8808" providerId="ADAL" clId="{CE6FD620-CCB9-4AE1-9A1B-E3CD264C1737}" dt="2024-11-02T01:59:29.814" v="2608" actId="478"/>
          <ac:spMkLst>
            <pc:docMk/>
            <pc:sldMk cId="2712141139" sldId="465"/>
            <ac:spMk id="36" creationId="{46217873-1EC6-7D4F-B8FE-25D032C09295}"/>
          </ac:spMkLst>
        </pc:spChg>
        <pc:spChg chg="del mod">
          <ac:chgData name="Miyazaki, Yasutaka" userId="79e3c2ad-bf55-4fbd-9d50-b574289c8808" providerId="ADAL" clId="{CE6FD620-CCB9-4AE1-9A1B-E3CD264C1737}" dt="2024-11-02T01:59:37.204" v="2613" actId="478"/>
          <ac:spMkLst>
            <pc:docMk/>
            <pc:sldMk cId="2712141139" sldId="465"/>
            <ac:spMk id="37" creationId="{E175947C-07C3-16AA-24D8-E5CFD0FBD05C}"/>
          </ac:spMkLst>
        </pc:spChg>
        <pc:spChg chg="del mod">
          <ac:chgData name="Miyazaki, Yasutaka" userId="79e3c2ad-bf55-4fbd-9d50-b574289c8808" providerId="ADAL" clId="{CE6FD620-CCB9-4AE1-9A1B-E3CD264C1737}" dt="2024-11-02T01:59:39.101" v="2614" actId="478"/>
          <ac:spMkLst>
            <pc:docMk/>
            <pc:sldMk cId="2712141139" sldId="465"/>
            <ac:spMk id="39" creationId="{6C7CC0AF-F9F7-71EA-094B-17654B5D1624}"/>
          </ac:spMkLst>
        </pc:spChg>
        <pc:spChg chg="mod">
          <ac:chgData name="Miyazaki, Yasutaka" userId="79e3c2ad-bf55-4fbd-9d50-b574289c8808" providerId="ADAL" clId="{CE6FD620-CCB9-4AE1-9A1B-E3CD264C1737}" dt="2024-11-02T02:09:53.673" v="2780" actId="165"/>
          <ac:spMkLst>
            <pc:docMk/>
            <pc:sldMk cId="2712141139" sldId="465"/>
            <ac:spMk id="48" creationId="{99028FE0-3AE3-2DCA-7977-775D1138EB0F}"/>
          </ac:spMkLst>
        </pc:spChg>
        <pc:spChg chg="mod">
          <ac:chgData name="Miyazaki, Yasutaka" userId="79e3c2ad-bf55-4fbd-9d50-b574289c8808" providerId="ADAL" clId="{CE6FD620-CCB9-4AE1-9A1B-E3CD264C1737}" dt="2024-11-02T02:09:53.673" v="2780" actId="165"/>
          <ac:spMkLst>
            <pc:docMk/>
            <pc:sldMk cId="2712141139" sldId="465"/>
            <ac:spMk id="49" creationId="{14D82578-CFC8-6331-261F-4734263066D6}"/>
          </ac:spMkLst>
        </pc:spChg>
        <pc:spChg chg="mod">
          <ac:chgData name="Miyazaki, Yasutaka" userId="79e3c2ad-bf55-4fbd-9d50-b574289c8808" providerId="ADAL" clId="{CE6FD620-CCB9-4AE1-9A1B-E3CD264C1737}" dt="2024-11-02T02:09:53.673" v="2780" actId="165"/>
          <ac:spMkLst>
            <pc:docMk/>
            <pc:sldMk cId="2712141139" sldId="465"/>
            <ac:spMk id="55" creationId="{A0ACCCE7-4DF2-9C7A-8FE8-E311FC988338}"/>
          </ac:spMkLst>
        </pc:spChg>
        <pc:spChg chg="mod">
          <ac:chgData name="Miyazaki, Yasutaka" userId="79e3c2ad-bf55-4fbd-9d50-b574289c8808" providerId="ADAL" clId="{CE6FD620-CCB9-4AE1-9A1B-E3CD264C1737}" dt="2024-11-02T02:09:53.673" v="2780" actId="165"/>
          <ac:spMkLst>
            <pc:docMk/>
            <pc:sldMk cId="2712141139" sldId="465"/>
            <ac:spMk id="56" creationId="{0E1A1D21-22A6-D2F6-6F49-6C0953A654C0}"/>
          </ac:spMkLst>
        </pc:spChg>
        <pc:spChg chg="add mod topLvl">
          <ac:chgData name="Miyazaki, Yasutaka" userId="79e3c2ad-bf55-4fbd-9d50-b574289c8808" providerId="ADAL" clId="{CE6FD620-CCB9-4AE1-9A1B-E3CD264C1737}" dt="2024-11-02T02:12:10.888" v="2843" actId="14100"/>
          <ac:spMkLst>
            <pc:docMk/>
            <pc:sldMk cId="2712141139" sldId="465"/>
            <ac:spMk id="70" creationId="{CE4B486E-47F2-F365-0EB4-09CD6BDD8594}"/>
          </ac:spMkLst>
        </pc:spChg>
        <pc:spChg chg="add mod topLvl">
          <ac:chgData name="Miyazaki, Yasutaka" userId="79e3c2ad-bf55-4fbd-9d50-b574289c8808" providerId="ADAL" clId="{CE6FD620-CCB9-4AE1-9A1B-E3CD264C1737}" dt="2024-11-02T02:12:32.012" v="2847" actId="1038"/>
          <ac:spMkLst>
            <pc:docMk/>
            <pc:sldMk cId="2712141139" sldId="465"/>
            <ac:spMk id="71" creationId="{EDD8F445-1F05-60EA-0E42-E7030E3DBCFA}"/>
          </ac:spMkLst>
        </pc:spChg>
        <pc:spChg chg="add mod">
          <ac:chgData name="Miyazaki, Yasutaka" userId="79e3c2ad-bf55-4fbd-9d50-b574289c8808" providerId="ADAL" clId="{CE6FD620-CCB9-4AE1-9A1B-E3CD264C1737}" dt="2024-11-02T02:11:44.923" v="2836" actId="1076"/>
          <ac:spMkLst>
            <pc:docMk/>
            <pc:sldMk cId="2712141139" sldId="465"/>
            <ac:spMk id="81" creationId="{C3C4FFE3-FAF4-E42A-C510-3D3AAA748379}"/>
          </ac:spMkLst>
        </pc:spChg>
        <pc:grpChg chg="add del mod">
          <ac:chgData name="Miyazaki, Yasutaka" userId="79e3c2ad-bf55-4fbd-9d50-b574289c8808" providerId="ADAL" clId="{CE6FD620-CCB9-4AE1-9A1B-E3CD264C1737}" dt="2024-11-02T02:09:53.673" v="2780" actId="165"/>
          <ac:grpSpMkLst>
            <pc:docMk/>
            <pc:sldMk cId="2712141139" sldId="465"/>
            <ac:grpSpMk id="11" creationId="{B10DE705-E4F3-5087-2C81-69CC15753718}"/>
          </ac:grpSpMkLst>
        </pc:grpChg>
        <pc:grpChg chg="mod topLvl">
          <ac:chgData name="Miyazaki, Yasutaka" userId="79e3c2ad-bf55-4fbd-9d50-b574289c8808" providerId="ADAL" clId="{CE6FD620-CCB9-4AE1-9A1B-E3CD264C1737}" dt="2024-11-02T02:10:01.881" v="2781" actId="164"/>
          <ac:grpSpMkLst>
            <pc:docMk/>
            <pc:sldMk cId="2712141139" sldId="465"/>
            <ac:grpSpMk id="14" creationId="{023B1F73-B221-25A5-6DB6-0BDAD9714938}"/>
          </ac:grpSpMkLst>
        </pc:grpChg>
        <pc:grpChg chg="add del mod">
          <ac:chgData name="Miyazaki, Yasutaka" userId="79e3c2ad-bf55-4fbd-9d50-b574289c8808" providerId="ADAL" clId="{CE6FD620-CCB9-4AE1-9A1B-E3CD264C1737}" dt="2024-11-02T02:09:53.673" v="2780" actId="165"/>
          <ac:grpSpMkLst>
            <pc:docMk/>
            <pc:sldMk cId="2712141139" sldId="465"/>
            <ac:grpSpMk id="79" creationId="{C3FADABC-252A-F50C-643A-1B74863EDADE}"/>
          </ac:grpSpMkLst>
        </pc:grpChg>
        <pc:grpChg chg="add mod">
          <ac:chgData name="Miyazaki, Yasutaka" userId="79e3c2ad-bf55-4fbd-9d50-b574289c8808" providerId="ADAL" clId="{CE6FD620-CCB9-4AE1-9A1B-E3CD264C1737}" dt="2024-11-02T02:10:01.881" v="2781" actId="164"/>
          <ac:grpSpMkLst>
            <pc:docMk/>
            <pc:sldMk cId="2712141139" sldId="465"/>
            <ac:grpSpMk id="80" creationId="{8E46C215-88A6-155D-EB41-207A3FF5EE38}"/>
          </ac:grpSpMkLst>
        </pc:grpChg>
        <pc:grpChg chg="del">
          <ac:chgData name="Miyazaki, Yasutaka" userId="79e3c2ad-bf55-4fbd-9d50-b574289c8808" providerId="ADAL" clId="{CE6FD620-CCB9-4AE1-9A1B-E3CD264C1737}" dt="2024-11-02T01:50:16.555" v="2089" actId="478"/>
          <ac:grpSpMkLst>
            <pc:docMk/>
            <pc:sldMk cId="2712141139" sldId="465"/>
            <ac:grpSpMk id="83" creationId="{30D08DBF-917D-8A3B-76BE-8EB35673CDB2}"/>
          </ac:grpSpMkLst>
        </pc:grpChg>
        <pc:picChg chg="add del mod">
          <ac:chgData name="Miyazaki, Yasutaka" userId="79e3c2ad-bf55-4fbd-9d50-b574289c8808" providerId="ADAL" clId="{CE6FD620-CCB9-4AE1-9A1B-E3CD264C1737}" dt="2024-11-02T02:02:35.924" v="2637" actId="478"/>
          <ac:picMkLst>
            <pc:docMk/>
            <pc:sldMk cId="2712141139" sldId="465"/>
            <ac:picMk id="7" creationId="{183588AF-88FD-61A5-B18D-B67D247FE6C0}"/>
          </ac:picMkLst>
        </pc:picChg>
        <pc:picChg chg="add del mod">
          <ac:chgData name="Miyazaki, Yasutaka" userId="79e3c2ad-bf55-4fbd-9d50-b574289c8808" providerId="ADAL" clId="{CE6FD620-CCB9-4AE1-9A1B-E3CD264C1737}" dt="2024-11-02T02:01:28.225" v="2628" actId="478"/>
          <ac:picMkLst>
            <pc:docMk/>
            <pc:sldMk cId="2712141139" sldId="465"/>
            <ac:picMk id="10" creationId="{75B4466F-CB3F-D4C2-0166-CB38FD3514E7}"/>
          </ac:picMkLst>
        </pc:picChg>
        <pc:picChg chg="mod">
          <ac:chgData name="Miyazaki, Yasutaka" userId="79e3c2ad-bf55-4fbd-9d50-b574289c8808" providerId="ADAL" clId="{CE6FD620-CCB9-4AE1-9A1B-E3CD264C1737}" dt="2024-11-02T02:09:53.673" v="2780" actId="165"/>
          <ac:picMkLst>
            <pc:docMk/>
            <pc:sldMk cId="2712141139" sldId="465"/>
            <ac:picMk id="54" creationId="{7299FB79-7610-4F0C-35D2-96A994A62A4F}"/>
          </ac:picMkLst>
        </pc:picChg>
        <pc:picChg chg="add del mod topLvl">
          <ac:chgData name="Miyazaki, Yasutaka" userId="79e3c2ad-bf55-4fbd-9d50-b574289c8808" providerId="ADAL" clId="{CE6FD620-CCB9-4AE1-9A1B-E3CD264C1737}" dt="2024-11-02T02:10:01.881" v="2781" actId="164"/>
          <ac:picMkLst>
            <pc:docMk/>
            <pc:sldMk cId="2712141139" sldId="465"/>
            <ac:picMk id="60" creationId="{86DE559A-F31F-84E2-86C8-67D7B42D1E32}"/>
          </ac:picMkLst>
        </pc:picChg>
        <pc:picChg chg="add mod topLvl">
          <ac:chgData name="Miyazaki, Yasutaka" userId="79e3c2ad-bf55-4fbd-9d50-b574289c8808" providerId="ADAL" clId="{CE6FD620-CCB9-4AE1-9A1B-E3CD264C1737}" dt="2024-11-02T02:12:16.212" v="2844" actId="14100"/>
          <ac:picMkLst>
            <pc:docMk/>
            <pc:sldMk cId="2712141139" sldId="465"/>
            <ac:picMk id="62" creationId="{366888B5-3ED7-FA76-488F-FA5F562D4F78}"/>
          </ac:picMkLst>
        </pc:picChg>
        <pc:cxnChg chg="mod topLvl">
          <ac:chgData name="Miyazaki, Yasutaka" userId="79e3c2ad-bf55-4fbd-9d50-b574289c8808" providerId="ADAL" clId="{CE6FD620-CCB9-4AE1-9A1B-E3CD264C1737}" dt="2024-11-02T02:10:01.881" v="2781" actId="164"/>
          <ac:cxnSpMkLst>
            <pc:docMk/>
            <pc:sldMk cId="2712141139" sldId="465"/>
            <ac:cxnSpMk id="15" creationId="{92C4051E-D670-D584-3435-6E91D61CE4F1}"/>
          </ac:cxnSpMkLst>
        </pc:cxnChg>
        <pc:cxnChg chg="mod topLvl">
          <ac:chgData name="Miyazaki, Yasutaka" userId="79e3c2ad-bf55-4fbd-9d50-b574289c8808" providerId="ADAL" clId="{CE6FD620-CCB9-4AE1-9A1B-E3CD264C1737}" dt="2024-11-02T02:10:01.881" v="2781" actId="164"/>
          <ac:cxnSpMkLst>
            <pc:docMk/>
            <pc:sldMk cId="2712141139" sldId="465"/>
            <ac:cxnSpMk id="22" creationId="{FB21BAD4-B214-1116-D222-3901BF86E2DB}"/>
          </ac:cxnSpMkLst>
        </pc:cxnChg>
        <pc:cxnChg chg="mod topLvl">
          <ac:chgData name="Miyazaki, Yasutaka" userId="79e3c2ad-bf55-4fbd-9d50-b574289c8808" providerId="ADAL" clId="{CE6FD620-CCB9-4AE1-9A1B-E3CD264C1737}" dt="2024-11-02T02:10:01.881" v="2781" actId="164"/>
          <ac:cxnSpMkLst>
            <pc:docMk/>
            <pc:sldMk cId="2712141139" sldId="465"/>
            <ac:cxnSpMk id="25" creationId="{A962383C-C26E-3B8F-FBF7-BECE339D41E9}"/>
          </ac:cxnSpMkLst>
        </pc:cxnChg>
        <pc:cxnChg chg="mod topLvl">
          <ac:chgData name="Miyazaki, Yasutaka" userId="79e3c2ad-bf55-4fbd-9d50-b574289c8808" providerId="ADAL" clId="{CE6FD620-CCB9-4AE1-9A1B-E3CD264C1737}" dt="2024-11-02T02:10:01.881" v="2781" actId="164"/>
          <ac:cxnSpMkLst>
            <pc:docMk/>
            <pc:sldMk cId="2712141139" sldId="465"/>
            <ac:cxnSpMk id="29" creationId="{5B2E47B1-7B89-6D0C-15BA-2B3D904CC997}"/>
          </ac:cxnSpMkLst>
        </pc:cxnChg>
        <pc:cxnChg chg="mod topLvl">
          <ac:chgData name="Miyazaki, Yasutaka" userId="79e3c2ad-bf55-4fbd-9d50-b574289c8808" providerId="ADAL" clId="{CE6FD620-CCB9-4AE1-9A1B-E3CD264C1737}" dt="2024-11-02T02:10:01.881" v="2781" actId="164"/>
          <ac:cxnSpMkLst>
            <pc:docMk/>
            <pc:sldMk cId="2712141139" sldId="465"/>
            <ac:cxnSpMk id="30" creationId="{6F23C954-CBBD-5CAA-BB04-F1009153BEE3}"/>
          </ac:cxnSpMkLst>
        </pc:cxnChg>
        <pc:cxnChg chg="del mod">
          <ac:chgData name="Miyazaki, Yasutaka" userId="79e3c2ad-bf55-4fbd-9d50-b574289c8808" providerId="ADAL" clId="{CE6FD620-CCB9-4AE1-9A1B-E3CD264C1737}" dt="2024-11-02T01:59:34.029" v="2611" actId="478"/>
          <ac:cxnSpMkLst>
            <pc:docMk/>
            <pc:sldMk cId="2712141139" sldId="465"/>
            <ac:cxnSpMk id="40" creationId="{9564EC04-86FA-6B59-547E-321018DB9508}"/>
          </ac:cxnSpMkLst>
        </pc:cxnChg>
        <pc:cxnChg chg="del mod">
          <ac:chgData name="Miyazaki, Yasutaka" userId="79e3c2ad-bf55-4fbd-9d50-b574289c8808" providerId="ADAL" clId="{CE6FD620-CCB9-4AE1-9A1B-E3CD264C1737}" dt="2024-11-02T01:59:35.748" v="2612" actId="478"/>
          <ac:cxnSpMkLst>
            <pc:docMk/>
            <pc:sldMk cId="2712141139" sldId="465"/>
            <ac:cxnSpMk id="42" creationId="{4B0308DD-7BF5-2100-27BA-0A2BA0A12077}"/>
          </ac:cxnSpMkLst>
        </pc:cxnChg>
        <pc:cxnChg chg="mod">
          <ac:chgData name="Miyazaki, Yasutaka" userId="79e3c2ad-bf55-4fbd-9d50-b574289c8808" providerId="ADAL" clId="{CE6FD620-CCB9-4AE1-9A1B-E3CD264C1737}" dt="2024-11-02T02:09:53.673" v="2780" actId="165"/>
          <ac:cxnSpMkLst>
            <pc:docMk/>
            <pc:sldMk cId="2712141139" sldId="465"/>
            <ac:cxnSpMk id="44" creationId="{4F129C24-5689-6A3B-38D9-D4A418D5CF85}"/>
          </ac:cxnSpMkLst>
        </pc:cxnChg>
        <pc:cxnChg chg="mod">
          <ac:chgData name="Miyazaki, Yasutaka" userId="79e3c2ad-bf55-4fbd-9d50-b574289c8808" providerId="ADAL" clId="{CE6FD620-CCB9-4AE1-9A1B-E3CD264C1737}" dt="2024-11-02T02:09:53.673" v="2780" actId="165"/>
          <ac:cxnSpMkLst>
            <pc:docMk/>
            <pc:sldMk cId="2712141139" sldId="465"/>
            <ac:cxnSpMk id="53" creationId="{7CE8F49A-99E4-A948-01E5-2D9D7E2F14BA}"/>
          </ac:cxnSpMkLst>
        </pc:cxnChg>
        <pc:cxnChg chg="mod">
          <ac:chgData name="Miyazaki, Yasutaka" userId="79e3c2ad-bf55-4fbd-9d50-b574289c8808" providerId="ADAL" clId="{CE6FD620-CCB9-4AE1-9A1B-E3CD264C1737}" dt="2024-11-02T02:09:53.673" v="2780" actId="165"/>
          <ac:cxnSpMkLst>
            <pc:docMk/>
            <pc:sldMk cId="2712141139" sldId="465"/>
            <ac:cxnSpMk id="57" creationId="{992A12FF-E5CA-8160-3259-F8ABEBB57644}"/>
          </ac:cxnSpMkLst>
        </pc:cxnChg>
      </pc:sldChg>
      <pc:sldChg chg="addSp delSp modSp add mod">
        <pc:chgData name="Miyazaki, Yasutaka" userId="79e3c2ad-bf55-4fbd-9d50-b574289c8808" providerId="ADAL" clId="{CE6FD620-CCB9-4AE1-9A1B-E3CD264C1737}" dt="2024-11-09T00:23:41.605" v="5981" actId="255"/>
        <pc:sldMkLst>
          <pc:docMk/>
          <pc:sldMk cId="131661314" sldId="466"/>
        </pc:sldMkLst>
        <pc:spChg chg="mod">
          <ac:chgData name="Miyazaki, Yasutaka" userId="79e3c2ad-bf55-4fbd-9d50-b574289c8808" providerId="ADAL" clId="{CE6FD620-CCB9-4AE1-9A1B-E3CD264C1737}" dt="2024-11-09T00:22:03.464" v="5932" actId="14100"/>
          <ac:spMkLst>
            <pc:docMk/>
            <pc:sldMk cId="131661314" sldId="466"/>
            <ac:spMk id="6" creationId="{6139E2DB-EC41-41B9-B022-7B79ED9F6980}"/>
          </ac:spMkLst>
        </pc:spChg>
        <pc:spChg chg="add del">
          <ac:chgData name="Miyazaki, Yasutaka" userId="79e3c2ad-bf55-4fbd-9d50-b574289c8808" providerId="ADAL" clId="{CE6FD620-CCB9-4AE1-9A1B-E3CD264C1737}" dt="2024-11-09T00:03:22.946" v="5428" actId="22"/>
          <ac:spMkLst>
            <pc:docMk/>
            <pc:sldMk cId="131661314" sldId="466"/>
            <ac:spMk id="7" creationId="{3ED8517D-8B47-ED7D-B475-D8DA995C9D0C}"/>
          </ac:spMkLst>
        </pc:spChg>
        <pc:spChg chg="add mod">
          <ac:chgData name="Miyazaki, Yasutaka" userId="79e3c2ad-bf55-4fbd-9d50-b574289c8808" providerId="ADAL" clId="{CE6FD620-CCB9-4AE1-9A1B-E3CD264C1737}" dt="2024-11-09T00:22:26.797" v="5947" actId="1036"/>
          <ac:spMkLst>
            <pc:docMk/>
            <pc:sldMk cId="131661314" sldId="466"/>
            <ac:spMk id="9" creationId="{9AE8CD9B-D9A1-E125-3070-80A6EB967A50}"/>
          </ac:spMkLst>
        </pc:spChg>
        <pc:spChg chg="add mod">
          <ac:chgData name="Miyazaki, Yasutaka" userId="79e3c2ad-bf55-4fbd-9d50-b574289c8808" providerId="ADAL" clId="{CE6FD620-CCB9-4AE1-9A1B-E3CD264C1737}" dt="2024-11-09T00:22:08.583" v="5933" actId="1076"/>
          <ac:spMkLst>
            <pc:docMk/>
            <pc:sldMk cId="131661314" sldId="466"/>
            <ac:spMk id="11" creationId="{032905C2-6A89-9335-F289-4403B2D4B6B9}"/>
          </ac:spMkLst>
        </pc:spChg>
        <pc:spChg chg="del mod">
          <ac:chgData name="Miyazaki, Yasutaka" userId="79e3c2ad-bf55-4fbd-9d50-b574289c8808" providerId="ADAL" clId="{CE6FD620-CCB9-4AE1-9A1B-E3CD264C1737}" dt="2024-11-09T00:02:43.724" v="5422" actId="478"/>
          <ac:spMkLst>
            <pc:docMk/>
            <pc:sldMk cId="131661314" sldId="466"/>
            <ac:spMk id="24" creationId="{293E8C71-CA16-460E-BAC0-76CD95EF6A6E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30" creationId="{3BB3191D-DCD8-4DEE-AB02-4E62DF11CA7D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31" creationId="{3C2CB6E9-510B-4ED1-9D88-44149700043E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32" creationId="{247802F6-6D5C-4AEA-971B-1EE3333AF4AA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33" creationId="{33866065-9B3C-4016-A9F0-B9962A68F025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36" creationId="{4A79EE42-7BEB-441A-A660-372CD55958DF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37" creationId="{18B14D5D-306E-4C59-8002-5565060D746A}"/>
          </ac:spMkLst>
        </pc:spChg>
        <pc:spChg chg="mod">
          <ac:chgData name="Miyazaki, Yasutaka" userId="79e3c2ad-bf55-4fbd-9d50-b574289c8808" providerId="ADAL" clId="{CE6FD620-CCB9-4AE1-9A1B-E3CD264C1737}" dt="2024-11-09T00:22:34.457" v="5948" actId="404"/>
          <ac:spMkLst>
            <pc:docMk/>
            <pc:sldMk cId="131661314" sldId="466"/>
            <ac:spMk id="40" creationId="{9CB7B05E-FA9C-42E0-9DA9-031CC779DEB5}"/>
          </ac:spMkLst>
        </pc:spChg>
        <pc:spChg chg="mod">
          <ac:chgData name="Miyazaki, Yasutaka" userId="79e3c2ad-bf55-4fbd-9d50-b574289c8808" providerId="ADAL" clId="{CE6FD620-CCB9-4AE1-9A1B-E3CD264C1737}" dt="2024-11-09T00:22:39.530" v="5949" actId="1076"/>
          <ac:spMkLst>
            <pc:docMk/>
            <pc:sldMk cId="131661314" sldId="466"/>
            <ac:spMk id="41" creationId="{77F13AF6-7D4E-488A-BD0B-2645D11C12CA}"/>
          </ac:spMkLst>
        </pc:spChg>
        <pc:grpChg chg="mod">
          <ac:chgData name="Miyazaki, Yasutaka" userId="79e3c2ad-bf55-4fbd-9d50-b574289c8808" providerId="ADAL" clId="{CE6FD620-CCB9-4AE1-9A1B-E3CD264C1737}" dt="2024-11-09T00:22:26.797" v="5947" actId="1036"/>
          <ac:grpSpMkLst>
            <pc:docMk/>
            <pc:sldMk cId="131661314" sldId="466"/>
            <ac:grpSpMk id="25" creationId="{3F85616E-990A-4C79-844F-C50B7AEB8ADF}"/>
          </ac:grpSpMkLst>
        </pc:grpChg>
        <pc:graphicFrameChg chg="add mod modGraphic">
          <ac:chgData name="Miyazaki, Yasutaka" userId="79e3c2ad-bf55-4fbd-9d50-b574289c8808" providerId="ADAL" clId="{CE6FD620-CCB9-4AE1-9A1B-E3CD264C1737}" dt="2024-11-09T00:23:41.605" v="5981" actId="255"/>
          <ac:graphicFrameMkLst>
            <pc:docMk/>
            <pc:sldMk cId="131661314" sldId="466"/>
            <ac:graphicFrameMk id="8" creationId="{0B0D8A97-4DEA-D9B8-CD4E-3A2AE7B5A516}"/>
          </ac:graphicFrameMkLst>
        </pc:graphicFrameChg>
        <pc:graphicFrameChg chg="mod modGraphic">
          <ac:chgData name="Miyazaki, Yasutaka" userId="79e3c2ad-bf55-4fbd-9d50-b574289c8808" providerId="ADAL" clId="{CE6FD620-CCB9-4AE1-9A1B-E3CD264C1737}" dt="2024-11-09T00:22:16.497" v="5943" actId="1036"/>
          <ac:graphicFrameMkLst>
            <pc:docMk/>
            <pc:sldMk cId="131661314" sldId="466"/>
            <ac:graphicFrameMk id="23" creationId="{F3856C90-404C-450B-859B-732183A1C147}"/>
          </ac:graphicFrameMkLst>
        </pc:graphicFrameChg>
        <pc:cxnChg chg="mod">
          <ac:chgData name="Miyazaki, Yasutaka" userId="79e3c2ad-bf55-4fbd-9d50-b574289c8808" providerId="ADAL" clId="{CE6FD620-CCB9-4AE1-9A1B-E3CD264C1737}" dt="2024-11-09T00:14:58.826" v="5907" actId="14100"/>
          <ac:cxnSpMkLst>
            <pc:docMk/>
            <pc:sldMk cId="131661314" sldId="466"/>
            <ac:cxnSpMk id="27" creationId="{103355FC-460F-4734-9DC0-341F9F47DAFA}"/>
          </ac:cxnSpMkLst>
        </pc:cxnChg>
        <pc:cxnChg chg="mod">
          <ac:chgData name="Miyazaki, Yasutaka" userId="79e3c2ad-bf55-4fbd-9d50-b574289c8808" providerId="ADAL" clId="{CE6FD620-CCB9-4AE1-9A1B-E3CD264C1737}" dt="2024-11-09T00:14:46.643" v="5904" actId="1076"/>
          <ac:cxnSpMkLst>
            <pc:docMk/>
            <pc:sldMk cId="131661314" sldId="466"/>
            <ac:cxnSpMk id="34" creationId="{B859B8A9-F008-496A-92F4-9266B37E85A1}"/>
          </ac:cxnSpMkLst>
        </pc:cxnChg>
      </pc:sldChg>
      <pc:sldChg chg="modSp add mod">
        <pc:chgData name="Miyazaki, Yasutaka" userId="79e3c2ad-bf55-4fbd-9d50-b574289c8808" providerId="ADAL" clId="{CE6FD620-CCB9-4AE1-9A1B-E3CD264C1737}" dt="2024-11-09T01:08:31.044" v="7410" actId="1076"/>
        <pc:sldMkLst>
          <pc:docMk/>
          <pc:sldMk cId="2301545322" sldId="467"/>
        </pc:sldMkLst>
        <pc:picChg chg="mod">
          <ac:chgData name="Miyazaki, Yasutaka" userId="79e3c2ad-bf55-4fbd-9d50-b574289c8808" providerId="ADAL" clId="{CE6FD620-CCB9-4AE1-9A1B-E3CD264C1737}" dt="2024-11-09T01:08:25.560" v="7409" actId="1076"/>
          <ac:picMkLst>
            <pc:docMk/>
            <pc:sldMk cId="2301545322" sldId="467"/>
            <ac:picMk id="81" creationId="{A2D5D178-7984-40EE-A425-506CF210C498}"/>
          </ac:picMkLst>
        </pc:picChg>
        <pc:picChg chg="mod">
          <ac:chgData name="Miyazaki, Yasutaka" userId="79e3c2ad-bf55-4fbd-9d50-b574289c8808" providerId="ADAL" clId="{CE6FD620-CCB9-4AE1-9A1B-E3CD264C1737}" dt="2024-11-09T01:08:31.044" v="7410" actId="1076"/>
          <ac:picMkLst>
            <pc:docMk/>
            <pc:sldMk cId="2301545322" sldId="467"/>
            <ac:picMk id="83" creationId="{84DEA388-3F01-48AC-B0F2-1CB25DC371B5}"/>
          </ac:picMkLst>
        </pc:picChg>
      </pc:sldChg>
      <pc:sldChg chg="addSp delSp modSp add mod ord">
        <pc:chgData name="Miyazaki, Yasutaka" userId="79e3c2ad-bf55-4fbd-9d50-b574289c8808" providerId="ADAL" clId="{CE6FD620-CCB9-4AE1-9A1B-E3CD264C1737}" dt="2024-11-09T00:45:18.611" v="6284" actId="20577"/>
        <pc:sldMkLst>
          <pc:docMk/>
          <pc:sldMk cId="2155613623" sldId="468"/>
        </pc:sldMkLst>
        <pc:spChg chg="mod">
          <ac:chgData name="Miyazaki, Yasutaka" userId="79e3c2ad-bf55-4fbd-9d50-b574289c8808" providerId="ADAL" clId="{CE6FD620-CCB9-4AE1-9A1B-E3CD264C1737}" dt="2024-11-09T00:45:18.611" v="6284" actId="20577"/>
          <ac:spMkLst>
            <pc:docMk/>
            <pc:sldMk cId="2155613623" sldId="468"/>
            <ac:spMk id="5" creationId="{A6085E57-1807-D50D-23EF-751B745FBBD4}"/>
          </ac:spMkLst>
        </pc:spChg>
        <pc:spChg chg="mod">
          <ac:chgData name="Miyazaki, Yasutaka" userId="79e3c2ad-bf55-4fbd-9d50-b574289c8808" providerId="ADAL" clId="{CE6FD620-CCB9-4AE1-9A1B-E3CD264C1737}" dt="2024-11-08T23:37:46.956" v="5385" actId="20577"/>
          <ac:spMkLst>
            <pc:docMk/>
            <pc:sldMk cId="2155613623" sldId="468"/>
            <ac:spMk id="6" creationId="{BAB4B365-5054-5D72-274B-416F497B658A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8" creationId="{A9478439-D376-B7D6-11DE-73CEB2FE188C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11" creationId="{62D91694-9D3C-FE72-803F-7B0532DA35E0}"/>
          </ac:spMkLst>
        </pc:spChg>
        <pc:spChg chg="del">
          <ac:chgData name="Miyazaki, Yasutaka" userId="79e3c2ad-bf55-4fbd-9d50-b574289c8808" providerId="ADAL" clId="{CE6FD620-CCB9-4AE1-9A1B-E3CD264C1737}" dt="2024-11-08T22:38:05.012" v="3857" actId="478"/>
          <ac:spMkLst>
            <pc:docMk/>
            <pc:sldMk cId="2155613623" sldId="468"/>
            <ac:spMk id="12" creationId="{6943B062-93F8-BAF3-C916-A5EC44C33DAB}"/>
          </ac:spMkLst>
        </pc:spChg>
        <pc:spChg chg="del">
          <ac:chgData name="Miyazaki, Yasutaka" userId="79e3c2ad-bf55-4fbd-9d50-b574289c8808" providerId="ADAL" clId="{CE6FD620-CCB9-4AE1-9A1B-E3CD264C1737}" dt="2024-11-08T22:38:03.236" v="3856" actId="478"/>
          <ac:spMkLst>
            <pc:docMk/>
            <pc:sldMk cId="2155613623" sldId="468"/>
            <ac:spMk id="13" creationId="{8E50BF9D-8782-D299-51AF-147987A0E043}"/>
          </ac:spMkLst>
        </pc:spChg>
        <pc:spChg chg="mod topLvl">
          <ac:chgData name="Miyazaki, Yasutaka" userId="79e3c2ad-bf55-4fbd-9d50-b574289c8808" providerId="ADAL" clId="{CE6FD620-CCB9-4AE1-9A1B-E3CD264C1737}" dt="2024-11-08T23:12:08.038" v="4498" actId="1076"/>
          <ac:spMkLst>
            <pc:docMk/>
            <pc:sldMk cId="2155613623" sldId="468"/>
            <ac:spMk id="17" creationId="{E1BC5FEE-7966-5601-83A3-F691937F0C8D}"/>
          </ac:spMkLst>
        </pc:spChg>
        <pc:spChg chg="mod topLvl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28" creationId="{EA78E5CA-2843-A19B-7DAB-7CEC68D11C6C}"/>
          </ac:spMkLst>
        </pc:spChg>
        <pc:spChg chg="del">
          <ac:chgData name="Miyazaki, Yasutaka" userId="79e3c2ad-bf55-4fbd-9d50-b574289c8808" providerId="ADAL" clId="{CE6FD620-CCB9-4AE1-9A1B-E3CD264C1737}" dt="2024-11-08T22:53:43.887" v="3902" actId="478"/>
          <ac:spMkLst>
            <pc:docMk/>
            <pc:sldMk cId="2155613623" sldId="468"/>
            <ac:spMk id="31" creationId="{5E71CB06-DB59-6577-57E0-11F4721A5961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32" creationId="{7833B5B1-553C-8A2C-AA06-3BDA7D231664}"/>
          </ac:spMkLst>
        </pc:spChg>
        <pc:spChg chg="mod topLvl">
          <ac:chgData name="Miyazaki, Yasutaka" userId="79e3c2ad-bf55-4fbd-9d50-b574289c8808" providerId="ADAL" clId="{CE6FD620-CCB9-4AE1-9A1B-E3CD264C1737}" dt="2024-11-08T23:12:14.932" v="4499" actId="14100"/>
          <ac:spMkLst>
            <pc:docMk/>
            <pc:sldMk cId="2155613623" sldId="468"/>
            <ac:spMk id="35" creationId="{915B724E-6665-AD27-0C78-67203DAC36A3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36" creationId="{DDB7627B-7F97-1417-43FA-09A66D43686D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37" creationId="{0027158A-62DE-83A7-C4A5-58C1A6213C98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42" creationId="{D4FD2D98-BA12-9C21-CBB4-14F66F46C100}"/>
          </ac:spMkLst>
        </pc:spChg>
        <pc:spChg chg="add 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43" creationId="{C6415BF7-3ECA-CF6B-BE0D-89AFBB7C5BFF}"/>
          </ac:spMkLst>
        </pc:spChg>
        <pc:spChg chg="add mod">
          <ac:chgData name="Miyazaki, Yasutaka" userId="79e3c2ad-bf55-4fbd-9d50-b574289c8808" providerId="ADAL" clId="{CE6FD620-CCB9-4AE1-9A1B-E3CD264C1737}" dt="2024-11-08T23:12:32.531" v="4519" actId="1037"/>
          <ac:spMkLst>
            <pc:docMk/>
            <pc:sldMk cId="2155613623" sldId="468"/>
            <ac:spMk id="45" creationId="{F5FC4D29-1632-6700-C58F-F15DBD36A908}"/>
          </ac:spMkLst>
        </pc:spChg>
        <pc:spChg chg="mod">
          <ac:chgData name="Miyazaki, Yasutaka" userId="79e3c2ad-bf55-4fbd-9d50-b574289c8808" providerId="ADAL" clId="{CE6FD620-CCB9-4AE1-9A1B-E3CD264C1737}" dt="2024-11-08T23:01:22.627" v="4221" actId="1076"/>
          <ac:spMkLst>
            <pc:docMk/>
            <pc:sldMk cId="2155613623" sldId="468"/>
            <ac:spMk id="48" creationId="{99028FE0-3AE3-2DCA-7977-775D1138EB0F}"/>
          </ac:spMkLst>
        </pc:spChg>
        <pc:spChg chg="del mod">
          <ac:chgData name="Miyazaki, Yasutaka" userId="79e3c2ad-bf55-4fbd-9d50-b574289c8808" providerId="ADAL" clId="{CE6FD620-CCB9-4AE1-9A1B-E3CD264C1737}" dt="2024-11-08T23:03:21.549" v="4277" actId="478"/>
          <ac:spMkLst>
            <pc:docMk/>
            <pc:sldMk cId="2155613623" sldId="468"/>
            <ac:spMk id="49" creationId="{14D82578-CFC8-6331-261F-4734263066D6}"/>
          </ac:spMkLst>
        </pc:spChg>
        <pc:spChg chg="add del mod">
          <ac:chgData name="Miyazaki, Yasutaka" userId="79e3c2ad-bf55-4fbd-9d50-b574289c8808" providerId="ADAL" clId="{CE6FD620-CCB9-4AE1-9A1B-E3CD264C1737}" dt="2024-11-08T23:05:02.406" v="4294" actId="478"/>
          <ac:spMkLst>
            <pc:docMk/>
            <pc:sldMk cId="2155613623" sldId="468"/>
            <ac:spMk id="52" creationId="{07BBD8BB-8C9F-D5D3-93D7-64992826C9F9}"/>
          </ac:spMkLst>
        </pc:spChg>
        <pc:spChg chg="del mod">
          <ac:chgData name="Miyazaki, Yasutaka" userId="79e3c2ad-bf55-4fbd-9d50-b574289c8808" providerId="ADAL" clId="{CE6FD620-CCB9-4AE1-9A1B-E3CD264C1737}" dt="2024-11-08T23:03:19.649" v="4276" actId="478"/>
          <ac:spMkLst>
            <pc:docMk/>
            <pc:sldMk cId="2155613623" sldId="468"/>
            <ac:spMk id="55" creationId="{A0ACCCE7-4DF2-9C7A-8FE8-E311FC988338}"/>
          </ac:spMkLst>
        </pc:spChg>
        <pc:spChg chg="del mod">
          <ac:chgData name="Miyazaki, Yasutaka" userId="79e3c2ad-bf55-4fbd-9d50-b574289c8808" providerId="ADAL" clId="{CE6FD620-CCB9-4AE1-9A1B-E3CD264C1737}" dt="2024-11-08T22:58:57.954" v="4076" actId="478"/>
          <ac:spMkLst>
            <pc:docMk/>
            <pc:sldMk cId="2155613623" sldId="468"/>
            <ac:spMk id="56" creationId="{0E1A1D21-22A6-D2F6-6F49-6C0953A654C0}"/>
          </ac:spMkLst>
        </pc:spChg>
        <pc:spChg chg="del">
          <ac:chgData name="Miyazaki, Yasutaka" userId="79e3c2ad-bf55-4fbd-9d50-b574289c8808" providerId="ADAL" clId="{CE6FD620-CCB9-4AE1-9A1B-E3CD264C1737}" dt="2024-11-08T22:36:40.813" v="3846" actId="478"/>
          <ac:spMkLst>
            <pc:docMk/>
            <pc:sldMk cId="2155613623" sldId="468"/>
            <ac:spMk id="70" creationId="{CE4B486E-47F2-F365-0EB4-09CD6BDD8594}"/>
          </ac:spMkLst>
        </pc:spChg>
        <pc:spChg chg="del">
          <ac:chgData name="Miyazaki, Yasutaka" userId="79e3c2ad-bf55-4fbd-9d50-b574289c8808" providerId="ADAL" clId="{CE6FD620-CCB9-4AE1-9A1B-E3CD264C1737}" dt="2024-11-08T22:36:43.374" v="3847" actId="478"/>
          <ac:spMkLst>
            <pc:docMk/>
            <pc:sldMk cId="2155613623" sldId="468"/>
            <ac:spMk id="71" creationId="{EDD8F445-1F05-60EA-0E42-E7030E3DBCFA}"/>
          </ac:spMkLst>
        </pc:spChg>
        <pc:spChg chg="mod">
          <ac:chgData name="Miyazaki, Yasutaka" userId="79e3c2ad-bf55-4fbd-9d50-b574289c8808" providerId="ADAL" clId="{CE6FD620-CCB9-4AE1-9A1B-E3CD264C1737}" dt="2024-11-08T23:04:22.698" v="4287" actId="164"/>
          <ac:spMkLst>
            <pc:docMk/>
            <pc:sldMk cId="2155613623" sldId="468"/>
            <ac:spMk id="81" creationId="{C3C4FFE3-FAF4-E42A-C510-3D3AAA748379}"/>
          </ac:spMkLst>
        </pc:spChg>
        <pc:grpChg chg="mod topLvl">
          <ac:chgData name="Miyazaki, Yasutaka" userId="79e3c2ad-bf55-4fbd-9d50-b574289c8808" providerId="ADAL" clId="{CE6FD620-CCB9-4AE1-9A1B-E3CD264C1737}" dt="2024-11-08T23:04:22.698" v="4287" actId="164"/>
          <ac:grpSpMkLst>
            <pc:docMk/>
            <pc:sldMk cId="2155613623" sldId="468"/>
            <ac:grpSpMk id="14" creationId="{023B1F73-B221-25A5-6DB6-0BDAD9714938}"/>
          </ac:grpSpMkLst>
        </pc:grpChg>
        <pc:grpChg chg="add mod">
          <ac:chgData name="Miyazaki, Yasutaka" userId="79e3c2ad-bf55-4fbd-9d50-b574289c8808" providerId="ADAL" clId="{CE6FD620-CCB9-4AE1-9A1B-E3CD264C1737}" dt="2024-11-08T23:12:20.514" v="4515" actId="1038"/>
          <ac:grpSpMkLst>
            <pc:docMk/>
            <pc:sldMk cId="2155613623" sldId="468"/>
            <ac:grpSpMk id="51" creationId="{563F851F-7909-46CF-A7FF-C1A4856F156B}"/>
          </ac:grpSpMkLst>
        </pc:grpChg>
        <pc:grpChg chg="add del mod">
          <ac:chgData name="Miyazaki, Yasutaka" userId="79e3c2ad-bf55-4fbd-9d50-b574289c8808" providerId="ADAL" clId="{CE6FD620-CCB9-4AE1-9A1B-E3CD264C1737}" dt="2024-11-08T22:57:18.172" v="4031" actId="165"/>
          <ac:grpSpMkLst>
            <pc:docMk/>
            <pc:sldMk cId="2155613623" sldId="468"/>
            <ac:grpSpMk id="80" creationId="{8E46C215-88A6-155D-EB41-207A3FF5EE38}"/>
          </ac:grpSpMkLst>
        </pc:grpChg>
        <pc:graphicFrameChg chg="add mod">
          <ac:chgData name="Miyazaki, Yasutaka" userId="79e3c2ad-bf55-4fbd-9d50-b574289c8808" providerId="ADAL" clId="{CE6FD620-CCB9-4AE1-9A1B-E3CD264C1737}" dt="2024-11-08T23:34:26.871" v="5376" actId="1076"/>
          <ac:graphicFrameMkLst>
            <pc:docMk/>
            <pc:sldMk cId="2155613623" sldId="468"/>
            <ac:graphicFrameMk id="58" creationId="{FE302DF4-E298-D2A9-0651-98E2D5C678DA}"/>
          </ac:graphicFrameMkLst>
        </pc:graphicFrameChg>
        <pc:picChg chg="mod">
          <ac:chgData name="Miyazaki, Yasutaka" userId="79e3c2ad-bf55-4fbd-9d50-b574289c8808" providerId="ADAL" clId="{CE6FD620-CCB9-4AE1-9A1B-E3CD264C1737}" dt="2024-11-08T23:12:02.322" v="4496" actId="1076"/>
          <ac:picMkLst>
            <pc:docMk/>
            <pc:sldMk cId="2155613623" sldId="468"/>
            <ac:picMk id="54" creationId="{7299FB79-7610-4F0C-35D2-96A994A62A4F}"/>
          </ac:picMkLst>
        </pc:picChg>
        <pc:picChg chg="del">
          <ac:chgData name="Miyazaki, Yasutaka" userId="79e3c2ad-bf55-4fbd-9d50-b574289c8808" providerId="ADAL" clId="{CE6FD620-CCB9-4AE1-9A1B-E3CD264C1737}" dt="2024-11-08T22:36:46.780" v="3849" actId="478"/>
          <ac:picMkLst>
            <pc:docMk/>
            <pc:sldMk cId="2155613623" sldId="468"/>
            <ac:picMk id="60" creationId="{86DE559A-F31F-84E2-86C8-67D7B42D1E32}"/>
          </ac:picMkLst>
        </pc:picChg>
        <pc:picChg chg="del">
          <ac:chgData name="Miyazaki, Yasutaka" userId="79e3c2ad-bf55-4fbd-9d50-b574289c8808" providerId="ADAL" clId="{CE6FD620-CCB9-4AE1-9A1B-E3CD264C1737}" dt="2024-11-08T22:36:44.940" v="3848" actId="478"/>
          <ac:picMkLst>
            <pc:docMk/>
            <pc:sldMk cId="2155613623" sldId="468"/>
            <ac:picMk id="62" creationId="{366888B5-3ED7-FA76-488F-FA5F562D4F78}"/>
          </ac:picMkLst>
        </pc:picChg>
        <pc:cxnChg chg="add mod">
          <ac:chgData name="Miyazaki, Yasutaka" userId="79e3c2ad-bf55-4fbd-9d50-b574289c8808" providerId="ADAL" clId="{CE6FD620-CCB9-4AE1-9A1B-E3CD264C1737}" dt="2024-11-08T23:04:22.698" v="4287" actId="164"/>
          <ac:cxnSpMkLst>
            <pc:docMk/>
            <pc:sldMk cId="2155613623" sldId="468"/>
            <ac:cxnSpMk id="9" creationId="{89AC33D5-9121-1EDF-6194-3DA9708CA3B1}"/>
          </ac:cxnSpMkLst>
        </pc:cxnChg>
        <pc:cxnChg chg="del mod topLvl">
          <ac:chgData name="Miyazaki, Yasutaka" userId="79e3c2ad-bf55-4fbd-9d50-b574289c8808" providerId="ADAL" clId="{CE6FD620-CCB9-4AE1-9A1B-E3CD264C1737}" dt="2024-11-08T22:58:56.014" v="4075" actId="478"/>
          <ac:cxnSpMkLst>
            <pc:docMk/>
            <pc:sldMk cId="2155613623" sldId="468"/>
            <ac:cxnSpMk id="15" creationId="{92C4051E-D670-D584-3435-6E91D61CE4F1}"/>
          </ac:cxnSpMkLst>
        </pc:cxnChg>
        <pc:cxnChg chg="mod topLvl">
          <ac:chgData name="Miyazaki, Yasutaka" userId="79e3c2ad-bf55-4fbd-9d50-b574289c8808" providerId="ADAL" clId="{CE6FD620-CCB9-4AE1-9A1B-E3CD264C1737}" dt="2024-11-08T23:04:22.698" v="4287" actId="164"/>
          <ac:cxnSpMkLst>
            <pc:docMk/>
            <pc:sldMk cId="2155613623" sldId="468"/>
            <ac:cxnSpMk id="22" creationId="{FB21BAD4-B214-1116-D222-3901BF86E2DB}"/>
          </ac:cxnSpMkLst>
        </pc:cxnChg>
        <pc:cxnChg chg="add del mod ord">
          <ac:chgData name="Miyazaki, Yasutaka" userId="79e3c2ad-bf55-4fbd-9d50-b574289c8808" providerId="ADAL" clId="{CE6FD620-CCB9-4AE1-9A1B-E3CD264C1737}" dt="2024-11-08T22:57:42.368" v="4035" actId="478"/>
          <ac:cxnSpMkLst>
            <pc:docMk/>
            <pc:sldMk cId="2155613623" sldId="468"/>
            <ac:cxnSpMk id="23" creationId="{C7B275BF-F98E-F3E0-616B-B86C9BC5EAF3}"/>
          </ac:cxnSpMkLst>
        </pc:cxnChg>
        <pc:cxnChg chg="del mod topLvl">
          <ac:chgData name="Miyazaki, Yasutaka" userId="79e3c2ad-bf55-4fbd-9d50-b574289c8808" providerId="ADAL" clId="{CE6FD620-CCB9-4AE1-9A1B-E3CD264C1737}" dt="2024-11-08T22:59:51.353" v="4124" actId="478"/>
          <ac:cxnSpMkLst>
            <pc:docMk/>
            <pc:sldMk cId="2155613623" sldId="468"/>
            <ac:cxnSpMk id="25" creationId="{A962383C-C26E-3B8F-FBF7-BECE339D41E9}"/>
          </ac:cxnSpMkLst>
        </pc:cxnChg>
        <pc:cxnChg chg="add mod">
          <ac:chgData name="Miyazaki, Yasutaka" userId="79e3c2ad-bf55-4fbd-9d50-b574289c8808" providerId="ADAL" clId="{CE6FD620-CCB9-4AE1-9A1B-E3CD264C1737}" dt="2024-11-08T23:04:22.698" v="4287" actId="164"/>
          <ac:cxnSpMkLst>
            <pc:docMk/>
            <pc:sldMk cId="2155613623" sldId="468"/>
            <ac:cxnSpMk id="27" creationId="{44F1CC2C-0FD2-393D-63BD-D22736484B10}"/>
          </ac:cxnSpMkLst>
        </pc:cxnChg>
        <pc:cxnChg chg="del mod topLvl">
          <ac:chgData name="Miyazaki, Yasutaka" userId="79e3c2ad-bf55-4fbd-9d50-b574289c8808" providerId="ADAL" clId="{CE6FD620-CCB9-4AE1-9A1B-E3CD264C1737}" dt="2024-11-08T23:03:17.142" v="4275" actId="478"/>
          <ac:cxnSpMkLst>
            <pc:docMk/>
            <pc:sldMk cId="2155613623" sldId="468"/>
            <ac:cxnSpMk id="29" creationId="{5B2E47B1-7B89-6D0C-15BA-2B3D904CC997}"/>
          </ac:cxnSpMkLst>
        </pc:cxnChg>
        <pc:cxnChg chg="del">
          <ac:chgData name="Miyazaki, Yasutaka" userId="79e3c2ad-bf55-4fbd-9d50-b574289c8808" providerId="ADAL" clId="{CE6FD620-CCB9-4AE1-9A1B-E3CD264C1737}" dt="2024-11-08T22:56:21.946" v="4001" actId="478"/>
          <ac:cxnSpMkLst>
            <pc:docMk/>
            <pc:sldMk cId="2155613623" sldId="468"/>
            <ac:cxnSpMk id="30" creationId="{6F23C954-CBBD-5CAA-BB04-F1009153BEE3}"/>
          </ac:cxnSpMkLst>
        </pc:cxnChg>
        <pc:cxnChg chg="add mod">
          <ac:chgData name="Miyazaki, Yasutaka" userId="79e3c2ad-bf55-4fbd-9d50-b574289c8808" providerId="ADAL" clId="{CE6FD620-CCB9-4AE1-9A1B-E3CD264C1737}" dt="2024-11-08T23:04:22.698" v="4287" actId="164"/>
          <ac:cxnSpMkLst>
            <pc:docMk/>
            <pc:sldMk cId="2155613623" sldId="468"/>
            <ac:cxnSpMk id="33" creationId="{E018C74C-3F38-7C9A-2B85-C0B9D847206E}"/>
          </ac:cxnSpMkLst>
        </pc:cxnChg>
        <pc:cxnChg chg="mod">
          <ac:chgData name="Miyazaki, Yasutaka" userId="79e3c2ad-bf55-4fbd-9d50-b574289c8808" providerId="ADAL" clId="{CE6FD620-CCB9-4AE1-9A1B-E3CD264C1737}" dt="2024-11-08T23:12:05.205" v="4497" actId="1076"/>
          <ac:cxnSpMkLst>
            <pc:docMk/>
            <pc:sldMk cId="2155613623" sldId="468"/>
            <ac:cxnSpMk id="44" creationId="{4F129C24-5689-6A3B-38D9-D4A418D5CF85}"/>
          </ac:cxnSpMkLst>
        </pc:cxnChg>
        <pc:cxnChg chg="mod">
          <ac:chgData name="Miyazaki, Yasutaka" userId="79e3c2ad-bf55-4fbd-9d50-b574289c8808" providerId="ADAL" clId="{CE6FD620-CCB9-4AE1-9A1B-E3CD264C1737}" dt="2024-11-08T23:01:17.268" v="4220" actId="1038"/>
          <ac:cxnSpMkLst>
            <pc:docMk/>
            <pc:sldMk cId="2155613623" sldId="468"/>
            <ac:cxnSpMk id="53" creationId="{7CE8F49A-99E4-A948-01E5-2D9D7E2F14BA}"/>
          </ac:cxnSpMkLst>
        </pc:cxnChg>
        <pc:cxnChg chg="mod">
          <ac:chgData name="Miyazaki, Yasutaka" userId="79e3c2ad-bf55-4fbd-9d50-b574289c8808" providerId="ADAL" clId="{CE6FD620-CCB9-4AE1-9A1B-E3CD264C1737}" dt="2024-11-08T23:11:59.121" v="4495" actId="14100"/>
          <ac:cxnSpMkLst>
            <pc:docMk/>
            <pc:sldMk cId="2155613623" sldId="468"/>
            <ac:cxnSpMk id="57" creationId="{992A12FF-E5CA-8160-3259-F8ABEBB57644}"/>
          </ac:cxnSpMkLst>
        </pc:cxnChg>
      </pc:sldChg>
      <pc:sldChg chg="add del ord">
        <pc:chgData name="Miyazaki, Yasutaka" userId="79e3c2ad-bf55-4fbd-9d50-b574289c8808" providerId="ADAL" clId="{CE6FD620-CCB9-4AE1-9A1B-E3CD264C1737}" dt="2024-11-09T00:36:00.741" v="6177" actId="2696"/>
        <pc:sldMkLst>
          <pc:docMk/>
          <pc:sldMk cId="146672630" sldId="469"/>
        </pc:sldMkLst>
      </pc:sldChg>
      <pc:sldChg chg="modSp add mod ord">
        <pc:chgData name="Miyazaki, Yasutaka" userId="79e3c2ad-bf55-4fbd-9d50-b574289c8808" providerId="ADAL" clId="{CE6FD620-CCB9-4AE1-9A1B-E3CD264C1737}" dt="2024-11-09T01:11:01.625" v="7433" actId="5793"/>
        <pc:sldMkLst>
          <pc:docMk/>
          <pc:sldMk cId="1587351735" sldId="469"/>
        </pc:sldMkLst>
        <pc:spChg chg="mod">
          <ac:chgData name="Miyazaki, Yasutaka" userId="79e3c2ad-bf55-4fbd-9d50-b574289c8808" providerId="ADAL" clId="{CE6FD620-CCB9-4AE1-9A1B-E3CD264C1737}" dt="2024-11-09T00:49:39.971" v="6422" actId="1035"/>
          <ac:spMkLst>
            <pc:docMk/>
            <pc:sldMk cId="1587351735" sldId="469"/>
            <ac:spMk id="5" creationId="{620F7941-2E02-47FA-BD4A-BCA6CD1F6F23}"/>
          </ac:spMkLst>
        </pc:spChg>
        <pc:spChg chg="mod">
          <ac:chgData name="Miyazaki, Yasutaka" userId="79e3c2ad-bf55-4fbd-9d50-b574289c8808" providerId="ADAL" clId="{CE6FD620-CCB9-4AE1-9A1B-E3CD264C1737}" dt="2024-11-09T01:11:01.625" v="7433" actId="5793"/>
          <ac:spMkLst>
            <pc:docMk/>
            <pc:sldMk cId="1587351735" sldId="469"/>
            <ac:spMk id="6" creationId="{6139E2DB-EC41-41B9-B022-7B79ED9F6980}"/>
          </ac:spMkLst>
        </pc:spChg>
      </pc:sldChg>
      <pc:sldChg chg="add del">
        <pc:chgData name="Miyazaki, Yasutaka" userId="79e3c2ad-bf55-4fbd-9d50-b574289c8808" providerId="ADAL" clId="{CE6FD620-CCB9-4AE1-9A1B-E3CD264C1737}" dt="2024-11-09T00:25:08.126" v="5983" actId="2696"/>
        <pc:sldMkLst>
          <pc:docMk/>
          <pc:sldMk cId="1366714177" sldId="470"/>
        </pc:sldMkLst>
      </pc:sldChg>
      <pc:sldMasterChg chg="delSldLayout">
        <pc:chgData name="Miyazaki, Yasutaka" userId="79e3c2ad-bf55-4fbd-9d50-b574289c8808" providerId="ADAL" clId="{CE6FD620-CCB9-4AE1-9A1B-E3CD264C1737}" dt="2024-11-09T00:44:09.632" v="6262" actId="2696"/>
        <pc:sldMasterMkLst>
          <pc:docMk/>
          <pc:sldMasterMk cId="2171072968" sldId="2147483709"/>
        </pc:sldMasterMkLst>
        <pc:sldLayoutChg chg="del">
          <pc:chgData name="Miyazaki, Yasutaka" userId="79e3c2ad-bf55-4fbd-9d50-b574289c8808" providerId="ADAL" clId="{CE6FD620-CCB9-4AE1-9A1B-E3CD264C1737}" dt="2024-11-09T00:44:09.632" v="6262" actId="2696"/>
          <pc:sldLayoutMkLst>
            <pc:docMk/>
            <pc:sldMasterMk cId="2171072968" sldId="2147483709"/>
            <pc:sldLayoutMk cId="2337811404" sldId="2147483749"/>
          </pc:sldLayoutMkLst>
        </pc:sldLayoutChg>
        <pc:sldLayoutChg chg="del">
          <pc:chgData name="Miyazaki, Yasutaka" userId="79e3c2ad-bf55-4fbd-9d50-b574289c8808" providerId="ADAL" clId="{CE6FD620-CCB9-4AE1-9A1B-E3CD264C1737}" dt="2024-11-09T00:43:54.284" v="6259" actId="2696"/>
          <pc:sldLayoutMkLst>
            <pc:docMk/>
            <pc:sldMasterMk cId="2171072968" sldId="2147483709"/>
            <pc:sldLayoutMk cId="2902531" sldId="2147483750"/>
          </pc:sldLayoutMkLst>
        </pc:sldLayoutChg>
        <pc:sldLayoutChg chg="del">
          <pc:chgData name="Miyazaki, Yasutaka" userId="79e3c2ad-bf55-4fbd-9d50-b574289c8808" providerId="ADAL" clId="{CE6FD620-CCB9-4AE1-9A1B-E3CD264C1737}" dt="2024-11-09T00:44:04.056" v="6261" actId="2696"/>
          <pc:sldLayoutMkLst>
            <pc:docMk/>
            <pc:sldMasterMk cId="2171072968" sldId="2147483709"/>
            <pc:sldLayoutMk cId="1249067097" sldId="2147483751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0D50F-6EB4-4B0B-BA74-5A2947525BB9}" type="datetimeFigureOut">
              <a:rPr lang="en-US" smtClean="0"/>
              <a:t>11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175CB-6553-4F8F-90E8-80036D44DE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371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593CE6CC-2C8A-4FDF-A1A0-230D8061D35A}" type="datetimeFigureOut">
              <a:rPr lang="en-US" smtClean="0"/>
              <a:t>11/6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114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3203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478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19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45968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219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885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0227766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320819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416179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65156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3459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314623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221818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593CE6CC-2C8A-4FDF-A1A0-230D8061D35A}" type="datetimeFigureOut">
              <a:rPr lang="en-US" smtClean="0"/>
              <a:t>11/6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46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3402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93036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356653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2967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2967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7298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7298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60949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tee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F7EE7B8-7423-490B-A1BE-0DDF87E6EC6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3359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040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5586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7813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95800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8918079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3545189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0552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42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66376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5696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882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593CE6CC-2C8A-4FDF-A1A0-230D8061D35A}" type="datetimeFigureOut">
              <a:rPr lang="en-US" smtClean="0"/>
              <a:t>11/6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424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69290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57584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0388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80164"/>
            <a:ext cx="12192000" cy="237617"/>
          </a:xfrm>
          <a:prstGeom prst="rect">
            <a:avLst/>
          </a:prstGeom>
        </p:spPr>
        <p:txBody>
          <a:bodyPr/>
          <a:lstStyle>
            <a:lvl1pPr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49204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388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809996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5171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13727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/>
        </p:nvSpPr>
        <p:spPr>
          <a:xfrm>
            <a:off x="4516170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1558849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86106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1074738"/>
            <a:ext cx="10670117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342900" indent="-127397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03647" indent="-13335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901304" indent="-126206">
              <a:buClr>
                <a:schemeClr val="accent2"/>
              </a:buClr>
              <a:buFontTx/>
              <a:buChar char="-"/>
              <a:defRPr sz="1050">
                <a:solidFill>
                  <a:schemeClr val="tx1"/>
                </a:solidFill>
              </a:defRPr>
            </a:lvl4pPr>
            <a:lvl5pPr marL="1289447" indent="-133350">
              <a:buClr>
                <a:schemeClr val="accent2"/>
              </a:buCl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750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55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fld id="{593CE6CC-2C8A-4FDF-A1A0-230D8061D35A}" type="datetimeFigureOut">
              <a:rPr lang="en-US" smtClean="0"/>
              <a:t>11/6/2024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886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91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07436" y="6149976"/>
            <a:ext cx="1923925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525" dirty="0">
                <a:solidFill>
                  <a:schemeClr val="accent2"/>
                </a:solidFill>
                <a:cs typeface="Arial" panose="020B0604020202020204" pitchFamily="34" charset="0"/>
              </a:rPr>
              <a:t>© 2016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86104" y="344558"/>
            <a:ext cx="10830680" cy="51186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85800" y="1074738"/>
            <a:ext cx="10670117" cy="5059048"/>
          </a:xfrm>
          <a:prstGeom prst="rect">
            <a:avLst/>
          </a:prstGeom>
        </p:spPr>
        <p:txBody>
          <a:bodyPr>
            <a:normAutofit/>
          </a:bodyPr>
          <a:lstStyle>
            <a:lvl2pPr marL="342900" indent="-127397">
              <a:defRPr/>
            </a:lvl2pPr>
            <a:lvl3pPr marL="603647" indent="-133350">
              <a:defRPr/>
            </a:lvl3pPr>
            <a:lvl4pPr marL="901304" indent="-126206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050"/>
            </a:lvl4pPr>
            <a:lvl5pPr marL="1289447" indent="-133350">
              <a:buClr>
                <a:schemeClr val="tx1">
                  <a:lumMod val="50000"/>
                  <a:lumOff val="50000"/>
                </a:schemeClr>
              </a:buCl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74923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86105" y="357810"/>
            <a:ext cx="10839859" cy="49861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85801" y="1074738"/>
            <a:ext cx="5308547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342900" indent="-127397">
              <a:buClr>
                <a:schemeClr val="accent2"/>
              </a:buClr>
              <a:defRPr/>
            </a:lvl2pPr>
            <a:lvl3pPr marL="603647" indent="-133350">
              <a:buClr>
                <a:schemeClr val="accent2"/>
              </a:buClr>
              <a:defRPr/>
            </a:lvl3pPr>
            <a:lvl4pPr marL="901304" indent="-126206">
              <a:buClr>
                <a:schemeClr val="accent2"/>
              </a:buClr>
              <a:buFontTx/>
              <a:buChar char="-"/>
              <a:defRPr sz="1050"/>
            </a:lvl4pPr>
            <a:lvl5pPr marL="1289447" indent="-133350">
              <a:buClr>
                <a:schemeClr val="accent2"/>
              </a:buCl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217721" y="1074738"/>
            <a:ext cx="5308547" cy="5308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342900" indent="-127397">
              <a:buClr>
                <a:schemeClr val="accent2"/>
              </a:buClr>
              <a:defRPr/>
            </a:lvl2pPr>
            <a:lvl3pPr marL="603647" indent="-133350">
              <a:buClr>
                <a:schemeClr val="accent2"/>
              </a:buClr>
              <a:defRPr/>
            </a:lvl3pPr>
            <a:lvl4pPr marL="901304" indent="-126206">
              <a:buClr>
                <a:schemeClr val="accent2"/>
              </a:buClr>
              <a:buFontTx/>
              <a:buChar char="-"/>
              <a:defRPr sz="1050"/>
            </a:lvl4pPr>
            <a:lvl5pPr marL="1289447" indent="-133350">
              <a:buClr>
                <a:schemeClr val="accent2"/>
              </a:buCl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06307" y="993915"/>
            <a:ext cx="10872" cy="5484961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904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1147730" y="6217920"/>
            <a:ext cx="771276" cy="62389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85801" y="1074738"/>
            <a:ext cx="5308547" cy="50752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342900" indent="-127397">
              <a:buClr>
                <a:schemeClr val="accent2"/>
              </a:buClr>
              <a:defRPr/>
            </a:lvl2pPr>
            <a:lvl3pPr marL="603647" indent="-133350">
              <a:buClr>
                <a:schemeClr val="accent2"/>
              </a:buClr>
              <a:defRPr/>
            </a:lvl3pPr>
            <a:lvl4pPr marL="901304" indent="-126206">
              <a:buClr>
                <a:schemeClr val="accent2"/>
              </a:buClr>
              <a:buFontTx/>
              <a:buChar char="-"/>
              <a:defRPr sz="1050"/>
            </a:lvl4pPr>
            <a:lvl5pPr marL="1289447" indent="-133350">
              <a:buClr>
                <a:schemeClr val="accent2"/>
              </a:buCl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217721" y="1074738"/>
            <a:ext cx="5308547" cy="50752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 marL="342900" indent="-127397">
              <a:buClr>
                <a:schemeClr val="accent2"/>
              </a:buClr>
              <a:defRPr/>
            </a:lvl2pPr>
            <a:lvl3pPr marL="603647" indent="-133350">
              <a:buClr>
                <a:schemeClr val="accent2"/>
              </a:buClr>
              <a:defRPr/>
            </a:lvl3pPr>
            <a:lvl4pPr marL="901304" indent="-126206">
              <a:buClr>
                <a:schemeClr val="accent2"/>
              </a:buClr>
              <a:buFontTx/>
              <a:buChar char="-"/>
              <a:defRPr sz="1050"/>
            </a:lvl4pPr>
            <a:lvl5pPr marL="1289447" indent="-133350">
              <a:buClr>
                <a:schemeClr val="accent2"/>
              </a:buCl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106308" y="993913"/>
            <a:ext cx="10355" cy="5224007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207436" y="6149976"/>
            <a:ext cx="1923925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525" dirty="0">
                <a:solidFill>
                  <a:schemeClr val="accent2"/>
                </a:solidFill>
                <a:cs typeface="Arial" panose="020B0604020202020204" pitchFamily="34" charset="0"/>
              </a:rPr>
              <a:t>© 2016 by Honeywell International Inc. All rights reserved. </a:t>
            </a:r>
          </a:p>
        </p:txBody>
      </p:sp>
      <p:sp>
        <p:nvSpPr>
          <p:cNvPr id="7" name="Round Single Corner Rectangle 6"/>
          <p:cNvSpPr/>
          <p:nvPr userDrawn="1"/>
        </p:nvSpPr>
        <p:spPr>
          <a:xfrm>
            <a:off x="0" y="6364291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98276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592669" y="3698875"/>
            <a:ext cx="109537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140451" y="962028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259493" y="962652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92666" y="962652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76000" y="331307"/>
            <a:ext cx="11128904" cy="52511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275653" y="3804586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608828" y="3804586"/>
            <a:ext cx="5429251" cy="262946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1677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324600"/>
            <a:ext cx="12192000" cy="533400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91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237069" y="6181726"/>
            <a:ext cx="1923925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525" dirty="0">
                <a:solidFill>
                  <a:schemeClr val="accent2"/>
                </a:solidFill>
                <a:cs typeface="Arial" panose="020B0604020202020204" pitchFamily="34" charset="0"/>
              </a:rPr>
              <a:t>© 2016 by Honeywell International Inc. All rights reserved. 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auto">
          <a:xfrm>
            <a:off x="6140451" y="962028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 userDrawn="1"/>
        </p:nvCxnSpPr>
        <p:spPr bwMode="auto">
          <a:xfrm flipH="1">
            <a:off x="592667" y="3579813"/>
            <a:ext cx="11112500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92666" y="962652"/>
            <a:ext cx="5429251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>
                <a:solidFill>
                  <a:schemeClr val="tx1"/>
                </a:solidFill>
              </a:defRPr>
            </a:lvl1pPr>
            <a:lvl2pPr marL="342900" indent="-127397">
              <a:buClr>
                <a:schemeClr val="accent2"/>
              </a:buClr>
              <a:defRPr sz="1200">
                <a:solidFill>
                  <a:schemeClr val="tx1"/>
                </a:solidFill>
              </a:defRPr>
            </a:lvl2pPr>
            <a:lvl3pPr marL="603647" indent="-133350">
              <a:buClr>
                <a:schemeClr val="accent2"/>
              </a:buClr>
              <a:defRPr sz="1050">
                <a:solidFill>
                  <a:schemeClr val="tx1"/>
                </a:solidFill>
              </a:defRPr>
            </a:lvl3pPr>
            <a:lvl4pPr marL="901304" indent="-126206">
              <a:buClr>
                <a:schemeClr val="accent2"/>
              </a:buClr>
              <a:buFontTx/>
              <a:buChar char="-"/>
              <a:defRPr sz="900">
                <a:solidFill>
                  <a:schemeClr val="tx1"/>
                </a:solidFill>
              </a:defRPr>
            </a:lvl4pPr>
            <a:lvl5pPr marL="1289447" indent="-133350">
              <a:buClr>
                <a:schemeClr val="accent2"/>
              </a:buCl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92161" y="371062"/>
            <a:ext cx="11053655" cy="48535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275653" y="962652"/>
            <a:ext cx="5429251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buFont typeface="Arial" panose="020B0604020202020204" pitchFamily="34" charset="0"/>
              <a:buChar char="-"/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592160" y="3654408"/>
            <a:ext cx="5429251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6270368" y="3654408"/>
            <a:ext cx="5429251" cy="254479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 sz="1350"/>
            </a:lvl1pPr>
            <a:lvl2pPr marL="342900" indent="-127397">
              <a:buClr>
                <a:schemeClr val="accent2"/>
              </a:buClr>
              <a:defRPr sz="1200"/>
            </a:lvl2pPr>
            <a:lvl3pPr marL="603647" indent="-133350">
              <a:buClr>
                <a:schemeClr val="accent2"/>
              </a:buClr>
              <a:defRPr sz="1050"/>
            </a:lvl3pPr>
            <a:lvl4pPr marL="901304" indent="-126206">
              <a:buClr>
                <a:schemeClr val="accent2"/>
              </a:buClr>
              <a:buFontTx/>
              <a:buChar char="-"/>
              <a:defRPr sz="900"/>
            </a:lvl4pPr>
            <a:lvl5pPr marL="1289447" indent="-133350">
              <a:buClr>
                <a:schemeClr val="accent2"/>
              </a:buClr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2305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610273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207436" y="6149976"/>
            <a:ext cx="1923925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525" dirty="0">
                <a:solidFill>
                  <a:schemeClr val="accent2"/>
                </a:solidFill>
                <a:cs typeface="Arial" panose="020B0604020202020204" pitchFamily="34" charset="0"/>
              </a:rPr>
              <a:t>© 2016 by Honeywell International Inc. All rights reserved. 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239251" y="6350000"/>
            <a:ext cx="2654300" cy="50800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91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87180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5056" y="2131220"/>
            <a:ext cx="10361897" cy="147042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30104" y="3887393"/>
            <a:ext cx="8531795" cy="175021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642938" indent="0" algn="ctr">
              <a:buNone/>
              <a:defRPr/>
            </a:lvl2pPr>
            <a:lvl3pPr marL="1285875" indent="0" algn="ctr">
              <a:buNone/>
              <a:defRPr/>
            </a:lvl3pPr>
            <a:lvl4pPr marL="1928813" indent="0" algn="ctr">
              <a:buNone/>
              <a:defRPr/>
            </a:lvl4pPr>
            <a:lvl5pPr marL="2571750" indent="0" algn="ctr">
              <a:buNone/>
              <a:defRPr/>
            </a:lvl5pPr>
            <a:lvl6pPr marL="3214688" indent="0" algn="ctr">
              <a:buNone/>
              <a:defRPr/>
            </a:lvl6pPr>
            <a:lvl7pPr marL="3857625" indent="0" algn="ctr">
              <a:buNone/>
              <a:defRPr/>
            </a:lvl7pPr>
            <a:lvl8pPr marL="4500563" indent="0" algn="ctr">
              <a:buNone/>
              <a:defRPr/>
            </a:lvl8pPr>
            <a:lvl9pPr marL="51435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3379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92469"/>
            <a:ext cx="2743200" cy="40763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285063-1080-43C0-AE6D-98E69F0C0D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264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81002"/>
            <a:ext cx="2743200" cy="419099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671872F-C4A2-460A-ADE6-F23D817779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5300" y="6169948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049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307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181100"/>
            <a:ext cx="83820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1" y="3657601"/>
            <a:ext cx="5600700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381001"/>
            <a:ext cx="2743200" cy="4191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81F08AD-0F5F-4C86-BED1-3B2AFB6F33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25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299" y="4800602"/>
            <a:ext cx="5600700" cy="1066801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3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F3F8F8E-6850-4C28-9BEC-33473F4A71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800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181102"/>
            <a:ext cx="8382000" cy="2247899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0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657600"/>
            <a:ext cx="5600700" cy="243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5109A7E-E7AA-4EE2-ADEF-C746CAFAAC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1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005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7601"/>
            <a:ext cx="83820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2"/>
            <a:ext cx="8382000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4396CCD-611B-4440-9CDE-0BB35815E1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310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657601"/>
            <a:ext cx="83820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5105402"/>
            <a:ext cx="8381999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9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26B682B-AEBD-447A-B538-F2CB2CE108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98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2"/>
            <a:ext cx="8382000" cy="12191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B56999B-C7A5-4AFD-B32B-0F810652EB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714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1181103"/>
            <a:ext cx="5600700" cy="22478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1" y="3848101"/>
            <a:ext cx="5600700" cy="22478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8BA04C2-FBEC-4DFC-AC3F-6E757E5061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298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775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FBFEE9-47FF-40D3-9890-0A297C65A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5474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FBFEE9-47FF-40D3-9890-0A297C65A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89A5BF-574F-4EBE-A887-B19E73B5C8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7630F9-7DFE-4681-8FEA-6510F03972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5372100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0781A84-B68E-4ABA-BE3F-1591264B20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4601" y="1181101"/>
            <a:ext cx="5372103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991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1000"/>
            <a:ext cx="8382001" cy="5715001"/>
          </a:xfrm>
        </p:spPr>
        <p:txBody>
          <a:bodyPr tIns="0"/>
          <a:lstStyle>
            <a:lvl1pPr>
              <a:lnSpc>
                <a:spcPct val="8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3"/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2023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1592764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1000"/>
            <a:ext cx="5372101" cy="5715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69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559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squar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71915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1000"/>
            <a:ext cx="5372101" cy="57150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502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C4FA61-8681-4CCE-A300-954C39210D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0" y="1181100"/>
            <a:ext cx="112014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643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18EA922-C92C-4AFE-8F8C-4C6FC6A3E54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0E1F4-2F4A-4068-9412-42703EFEC1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099"/>
            <a:ext cx="53721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59105BE-9443-4DB5-8A79-68A2799BA0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4599" y="1181099"/>
            <a:ext cx="5372103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8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181100"/>
            <a:ext cx="5372100" cy="466344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EAEDD0-A35F-4B38-8359-296A2F6F6F1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84EA13-0694-4C7A-AC48-6F77F1D7C5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0"/>
            <a:ext cx="5372100" cy="4663440"/>
          </a:xfrm>
        </p:spPr>
        <p:txBody>
          <a:bodyPr lIns="0" tIns="0" rIns="0" bIns="0"/>
          <a:lstStyle>
            <a:lvl2pPr>
              <a:buClrTx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127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EA0B76E-0CE5-48CC-9380-74748B7F2F0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2488D-0F0D-4E7C-8B6F-6772CE0749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5301" y="3886386"/>
            <a:ext cx="5372100" cy="20116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6CF0C4-FB27-428A-A446-FCA838725E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24603" y="3886201"/>
            <a:ext cx="5372100" cy="20116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5890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1E721B0-CDAF-44F4-8423-069EE7EBA5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882DBD-7CE6-4E67-BE21-CF2EA9B8F0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8F25FA-7AB1-4485-8A29-0B13307C9F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3254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D3C024F-607B-4696-868C-7A179354EF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69781" y="1181101"/>
            <a:ext cx="352692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07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5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4201712-F7BB-4A99-8BB4-2F3A4AA5E7A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CA5848-1E3E-484D-A8BA-488AE247A9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0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D1185B-DC9F-45EC-924C-400E3CCFF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81535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AB71A9-D925-4753-A467-93464FB522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7700" y="3886200"/>
            <a:ext cx="342900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867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7920842-F4A1-466C-8CAC-F232F8B1E21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D6088-971D-4AD9-A3B9-7C31EC5590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0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0E3C9ED-4574-4EA1-BF6A-8AC71C5DC9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76302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4A3A4B2-BE5E-4259-ADCF-7B4B87BE02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7303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55C525-D748-4F1F-B00C-0161C18468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38303" y="1181100"/>
            <a:ext cx="2558397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606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AFD6C4D-50E1-45BF-B2ED-0A9FFDEAE4C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1EC41-342E-4D02-9FFF-C5D4DEB2EE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5301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47C2A36-7590-4740-94C1-01EC018E9EB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09935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9BC169-559C-4F7E-A57E-01F28DA84F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22502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3E4D4D8-82E2-4E1B-B1D8-0A481E845E0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235069" y="3657600"/>
            <a:ext cx="2459567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2549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E91B017-4E2A-4A38-92DF-E15E85281DA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1A302C-F620-47F3-89B7-1FC2A196FE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5301" y="1181100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DF399D-538E-4A44-8F38-C4CDD177DE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24599" y="1181100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2C32CA4-A646-4DB1-98A0-21DB79D58D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5301" y="3657601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D268984-FD8E-4787-89BD-2B962BD269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24599" y="3657601"/>
            <a:ext cx="5372099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314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92255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AC9AF1B-77C9-4194-9346-57C0BA3539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261956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F1BA960-F634-4BFE-B468-887287A86BD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761508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E6B73-C7B7-482C-A588-6792D62C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0" y="1181100"/>
            <a:ext cx="11201400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3637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9A3177-5314-4162-AEDA-FD50A4159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FCA8548-4236-4C23-A633-9F2F0E3BC2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24601" y="1181101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443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181100"/>
            <a:ext cx="5372100" cy="4914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85A23-2758-42AF-8508-3F7213122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2" y="1181100"/>
            <a:ext cx="5372100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88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1" y="1181100"/>
            <a:ext cx="53721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29F3F-4A1B-4316-A963-B7F0BCB9C7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301" y="3886200"/>
            <a:ext cx="5372100" cy="22098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1B3B3EA-46C5-4F3C-A05C-1E65859A6A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24599" y="3886200"/>
            <a:ext cx="5372100" cy="22098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6470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E4070D-4D68-4B0E-99D3-56723F6E22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C44DBD4-130D-4000-BE4C-130497236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43934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38848C-2E86-47CF-AB76-7C3F5555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92570" y="1181101"/>
            <a:ext cx="3504132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7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5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181100"/>
            <a:ext cx="342900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E0D5FF-A12A-4A26-8652-14F08C1690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3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130903-25B6-495D-9F9B-EE0D7C541C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815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4F72656-28AE-4BD6-A453-E95CEC384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267700" y="3886200"/>
            <a:ext cx="342900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0479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A572FC-49A0-4A00-91C9-26DE09B2A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36FCFF6-1D52-41AB-92CC-81BB0E2D3B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3832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F495DB9-D632-4C9E-BC1B-C5E4627F2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1341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89E66F3-24F9-4E52-BED5-06D3929B00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24362" y="1181100"/>
            <a:ext cx="2672340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7612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1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3" y="1181100"/>
            <a:ext cx="245903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F2FC03-71CF-4FB1-8012-40F6458F3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5301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F1FD01D-2E17-4D6F-862B-EAB2FE451B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409407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27D457A-2050-465F-9F98-78757B33D0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3030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10D5E3D-BE05-4F33-9E34-8B0B639BB1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236585" y="3657601"/>
            <a:ext cx="2459567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363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606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00414-C27C-4EAF-8828-8B5D0E904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301" y="1181100"/>
            <a:ext cx="5372099" cy="2247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63F576-0CF3-44CC-B07C-B8D4061FBA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301" y="3657600"/>
            <a:ext cx="5372099" cy="24384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CF7C5A7-1B5F-4106-AF84-D9162AE128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24600" y="1181100"/>
            <a:ext cx="5372099" cy="2247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E274C7-1613-423E-BB7B-522987CD14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24600" y="3657600"/>
            <a:ext cx="5372099" cy="24384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5451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87644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19835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 userDrawn="1"/>
        </p:nvSpPr>
        <p:spPr>
          <a:xfrm>
            <a:off x="4516171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4950" b="1" dirty="0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40888517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5299" y="495302"/>
            <a:ext cx="6096000" cy="182819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6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6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66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6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Graphic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300" y="6204858"/>
            <a:ext cx="24384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213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5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5464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0088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14784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37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7483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455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4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image" Target="../media/image6.emf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88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oleObject" Target="../embeddings/oleObject6.bin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tags" Target="../tags/tag13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D08A46D4-D455-40A1-9BF8-650FFC80ECB3}" type="slidenum">
              <a:rPr lang="en-US" smtClean="0"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19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31448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‒"/>
        <a:defRPr sz="1600" b="1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312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576">
          <p15:clr>
            <a:srgbClr val="9FCC3B"/>
          </p15:clr>
        </p15:guide>
        <p15:guide id="10" orient="horz" pos="888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ingle Corner Rectangle 1"/>
          <p:cNvSpPr>
            <a:spLocks noChangeAspect="1"/>
          </p:cNvSpPr>
          <p:nvPr/>
        </p:nvSpPr>
        <p:spPr>
          <a:xfrm rot="5400000">
            <a:off x="10369296" y="1"/>
            <a:ext cx="1828800" cy="1828723"/>
          </a:xfrm>
          <a:custGeom>
            <a:avLst/>
            <a:gdLst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1371600 w 1371600"/>
              <a:gd name="connsiteY3" fmla="*/ 1532236 h 1532236"/>
              <a:gd name="connsiteX4" fmla="*/ 0 w 1371600"/>
              <a:gd name="connsiteY4" fmla="*/ 1532236 h 1532236"/>
              <a:gd name="connsiteX5" fmla="*/ 0 w 1371600"/>
              <a:gd name="connsiteY5" fmla="*/ 0 h 1532236"/>
              <a:gd name="connsiteX0" fmla="*/ 0 w 1371600"/>
              <a:gd name="connsiteY0" fmla="*/ 0 h 1532236"/>
              <a:gd name="connsiteX1" fmla="*/ 1142995 w 1371600"/>
              <a:gd name="connsiteY1" fmla="*/ 0 h 1532236"/>
              <a:gd name="connsiteX2" fmla="*/ 1371600 w 1371600"/>
              <a:gd name="connsiteY2" fmla="*/ 228605 h 1532236"/>
              <a:gd name="connsiteX3" fmla="*/ 0 w 1371600"/>
              <a:gd name="connsiteY3" fmla="*/ 1532236 h 1532236"/>
              <a:gd name="connsiteX4" fmla="*/ 0 w 1371600"/>
              <a:gd name="connsiteY4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8 h 1532244"/>
              <a:gd name="connsiteX1" fmla="*/ 1142995 w 1142995"/>
              <a:gd name="connsiteY1" fmla="*/ 8 h 1532244"/>
              <a:gd name="connsiteX2" fmla="*/ 0 w 1142995"/>
              <a:gd name="connsiteY2" fmla="*/ 1532244 h 1532244"/>
              <a:gd name="connsiteX3" fmla="*/ 0 w 1142995"/>
              <a:gd name="connsiteY3" fmla="*/ 8 h 1532244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4012 w 1147007"/>
              <a:gd name="connsiteY0" fmla="*/ 9 h 1532245"/>
              <a:gd name="connsiteX1" fmla="*/ 1147007 w 1147007"/>
              <a:gd name="connsiteY1" fmla="*/ 9 h 1532245"/>
              <a:gd name="connsiteX2" fmla="*/ 4012 w 1147007"/>
              <a:gd name="connsiteY2" fmla="*/ 1532245 h 1532245"/>
              <a:gd name="connsiteX3" fmla="*/ 4012 w 1147007"/>
              <a:gd name="connsiteY3" fmla="*/ 9 h 1532245"/>
              <a:gd name="connsiteX0" fmla="*/ 0 w 1142995"/>
              <a:gd name="connsiteY0" fmla="*/ 9 h 1532245"/>
              <a:gd name="connsiteX1" fmla="*/ 1142995 w 1142995"/>
              <a:gd name="connsiteY1" fmla="*/ 9 h 1532245"/>
              <a:gd name="connsiteX2" fmla="*/ 0 w 1142995"/>
              <a:gd name="connsiteY2" fmla="*/ 1532245 h 1532245"/>
              <a:gd name="connsiteX3" fmla="*/ 0 w 1142995"/>
              <a:gd name="connsiteY3" fmla="*/ 9 h 1532245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64 h 1532300"/>
              <a:gd name="connsiteX1" fmla="*/ 1142995 w 1142995"/>
              <a:gd name="connsiteY1" fmla="*/ 64 h 1532300"/>
              <a:gd name="connsiteX2" fmla="*/ 0 w 1142995"/>
              <a:gd name="connsiteY2" fmla="*/ 1532300 h 1532300"/>
              <a:gd name="connsiteX3" fmla="*/ 0 w 1142995"/>
              <a:gd name="connsiteY3" fmla="*/ 64 h 1532300"/>
              <a:gd name="connsiteX0" fmla="*/ 0 w 1142995"/>
              <a:gd name="connsiteY0" fmla="*/ 76 h 1532312"/>
              <a:gd name="connsiteX1" fmla="*/ 1142995 w 1142995"/>
              <a:gd name="connsiteY1" fmla="*/ 76 h 1532312"/>
              <a:gd name="connsiteX2" fmla="*/ 0 w 1142995"/>
              <a:gd name="connsiteY2" fmla="*/ 1532312 h 1532312"/>
              <a:gd name="connsiteX3" fmla="*/ 0 w 1142995"/>
              <a:gd name="connsiteY3" fmla="*/ 76 h 1532312"/>
              <a:gd name="connsiteX0" fmla="*/ 0 w 1142995"/>
              <a:gd name="connsiteY0" fmla="*/ 83 h 1532319"/>
              <a:gd name="connsiteX1" fmla="*/ 1142995 w 1142995"/>
              <a:gd name="connsiteY1" fmla="*/ 83 h 1532319"/>
              <a:gd name="connsiteX2" fmla="*/ 0 w 1142995"/>
              <a:gd name="connsiteY2" fmla="*/ 1532319 h 1532319"/>
              <a:gd name="connsiteX3" fmla="*/ 0 w 1142995"/>
              <a:gd name="connsiteY3" fmla="*/ 83 h 1532319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87 h 1532323"/>
              <a:gd name="connsiteX1" fmla="*/ 1142995 w 1142995"/>
              <a:gd name="connsiteY1" fmla="*/ 87 h 1532323"/>
              <a:gd name="connsiteX2" fmla="*/ 0 w 1142995"/>
              <a:gd name="connsiteY2" fmla="*/ 1532323 h 1532323"/>
              <a:gd name="connsiteX3" fmla="*/ 0 w 1142995"/>
              <a:gd name="connsiteY3" fmla="*/ 87 h 1532323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  <a:gd name="connsiteX0" fmla="*/ 0 w 1142995"/>
              <a:gd name="connsiteY0" fmla="*/ 0 h 1532236"/>
              <a:gd name="connsiteX1" fmla="*/ 1142995 w 1142995"/>
              <a:gd name="connsiteY1" fmla="*/ 0 h 1532236"/>
              <a:gd name="connsiteX2" fmla="*/ 0 w 1142995"/>
              <a:gd name="connsiteY2" fmla="*/ 1532236 h 1532236"/>
              <a:gd name="connsiteX3" fmla="*/ 0 w 1142995"/>
              <a:gd name="connsiteY3" fmla="*/ 0 h 153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2995" h="1532236">
                <a:moveTo>
                  <a:pt x="0" y="0"/>
                </a:moveTo>
                <a:lnTo>
                  <a:pt x="1142995" y="0"/>
                </a:lnTo>
                <a:cubicBezTo>
                  <a:pt x="511969" y="21249"/>
                  <a:pt x="3930" y="739945"/>
                  <a:pt x="0" y="1532236"/>
                </a:cubicBezTo>
                <a:cubicBezTo>
                  <a:pt x="4519" y="403311"/>
                  <a:pt x="0" y="510745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9525" cmpd="sng">
            <a:noFill/>
          </a:ln>
          <a:effectLst>
            <a:innerShdw blurRad="127000" dist="25400" dir="2700000">
              <a:schemeClr val="accent3">
                <a:lumMod val="50000"/>
                <a:alpha val="40000"/>
              </a:scheme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/>
              <a:t> </a:t>
            </a:r>
          </a:p>
        </p:txBody>
      </p: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91"/>
            <a:ext cx="10803467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260353" y="6656389"/>
            <a:ext cx="1923925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525" dirty="0">
                <a:solidFill>
                  <a:schemeClr val="accent2"/>
                </a:solidFill>
                <a:cs typeface="Arial" panose="020B0604020202020204" pitchFamily="34" charset="0"/>
              </a:rPr>
              <a:t>© 2016 by Honeywell International Inc. All rights reserved.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2" y="4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078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1" r:link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602" y="6519863"/>
            <a:ext cx="1370935" cy="25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145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lang="en-US" sz="21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27397" indent="-127397" algn="l" defTabSz="3429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15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470297" indent="-127397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813197" indent="-127397" algn="l" defTabSz="3429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2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EFD35-96B0-4B47-9487-5DD96F489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393314556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347" imgH="348" progId="TCLayout.ActiveDocument.1">
                  <p:embed/>
                </p:oleObj>
              </mc:Choice>
              <mc:Fallback>
                <p:oleObj name="think-cell Slide" r:id="rId4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EFD35-96B0-4B47-9487-5DD96F489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64DF94-7244-4BF8-9BB4-3CC3FB89811A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85346"/>
            <a:ext cx="11201401" cy="4115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480166"/>
            <a:ext cx="5600703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Footer, Arial Bold 8p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7" y="6480166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3 Honeywell International Inc. Neither this document nor the information contained herein may be reproduced, used, distributed or disclosed to others without the written consent of Honeywel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BF797E-7EC6-4711-AAB8-6396BD7D8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1089024"/>
            <a:ext cx="11201401" cy="5159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1072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745" r:id="rId36"/>
    <p:sldLayoutId id="2147483746" r:id="rId37"/>
    <p:sldLayoutId id="2147483747" r:id="rId38"/>
    <p:sldLayoutId id="2147483752" r:id="rId39"/>
    <p:sldLayoutId id="2147483753" r:id="rId40"/>
    <p:sldLayoutId id="2147483754" r:id="rId4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C202E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701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22225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54075" indent="-16986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1112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504">
          <p15:clr>
            <a:srgbClr val="9FCC3B"/>
          </p15:clr>
        </p15:guide>
        <p15:guide id="4" orient="horz" pos="4080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840">
          <p15:clr>
            <a:srgbClr val="9FCC3B"/>
          </p15:clr>
        </p15:guide>
        <p15:guide id="10" orient="horz" pos="744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  <p15:guide id="17" orient="horz" pos="240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129D39-EBC6-4BE2-B357-4EEB40D502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677108"/>
          </a:xfrm>
        </p:spPr>
        <p:txBody>
          <a:bodyPr/>
          <a:lstStyle/>
          <a:p>
            <a:r>
              <a:rPr lang="en-US" dirty="0"/>
              <a:t>NGFMS USERS FORUM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B5199ED9-6791-4A0F-8448-366AE24FCF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5300" y="3848100"/>
            <a:ext cx="5600700" cy="1107996"/>
          </a:xfrm>
        </p:spPr>
        <p:txBody>
          <a:bodyPr/>
          <a:lstStyle/>
          <a:p>
            <a:r>
              <a:rPr lang="en-US" dirty="0"/>
              <a:t>NOV 2024</a:t>
            </a:r>
          </a:p>
          <a:p>
            <a:endParaRPr lang="en-US" dirty="0"/>
          </a:p>
          <a:p>
            <a:r>
              <a:rPr lang="en-US" sz="2800" dirty="0"/>
              <a:t>Yasutaka Miyazaki</a:t>
            </a:r>
          </a:p>
        </p:txBody>
      </p:sp>
    </p:spTree>
    <p:extLst>
      <p:ext uri="{BB962C8B-B14F-4D97-AF65-F5344CB8AC3E}">
        <p14:creationId xmlns:p14="http://schemas.microsoft.com/office/powerpoint/2010/main" val="42204457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20F7941-2E02-47FA-BD4A-BCA6CD1F6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74" y="264900"/>
            <a:ext cx="11784926" cy="419100"/>
          </a:xfrm>
        </p:spPr>
        <p:txBody>
          <a:bodyPr/>
          <a:lstStyle/>
          <a:p>
            <a:r>
              <a:rPr lang="en-US" dirty="0"/>
              <a:t>Status of Previously Presented Improvement Idea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39E2DB-EC41-41B9-B022-7B79ED9F6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1349" y="869372"/>
            <a:ext cx="10956251" cy="5610794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en-US" sz="2300" dirty="0"/>
              <a:t>Many improvement ideas were presented to GCC members over the years: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Enhanced ETP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RNP to </a:t>
            </a:r>
            <a:r>
              <a:rPr lang="en-US" sz="1900" dirty="0" err="1"/>
              <a:t>xLS</a:t>
            </a:r>
            <a:r>
              <a:rPr lang="en-US" sz="1900" dirty="0"/>
              <a:t> Capture Improvement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Continued LNAV / VGP beyond the MAP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Energy Management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Individualized FMS Customization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Speed Change Point Display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Circling Approach Assistance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Below Class B Shelf Speed Limit (200kts) Compliance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Custom Contingency Procedure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VNAV-Managed VS / FPA Modes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Vectors-To-Final Improvement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At &amp; At-or-Above Speed Constraint Compliance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TOLD Computations with Published LDA/TORA/TODA/ASDA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Approach Transition Selection Improvement</a:t>
            </a:r>
          </a:p>
          <a:p>
            <a:pPr lvl="1">
              <a:spcBef>
                <a:spcPts val="600"/>
              </a:spcBef>
            </a:pPr>
            <a:r>
              <a:rPr lang="en-US" sz="2300" dirty="0"/>
              <a:t>Some were developed and evaluated, but none have made its way into the final product</a:t>
            </a:r>
          </a:p>
          <a:p>
            <a:pPr lvl="1">
              <a:spcBef>
                <a:spcPts val="600"/>
              </a:spcBef>
            </a:pPr>
            <a:r>
              <a:rPr lang="en-US" sz="2300" dirty="0"/>
              <a:t>There is a renewed focus to put these features on the table for future program planning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7B5B5-1A38-4AFB-8A9A-4C4C62BCA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4456566-375E-484C-A85E-712770795D6D}"/>
              </a:ext>
            </a:extLst>
          </p:cNvPr>
          <p:cNvSpPr/>
          <p:nvPr/>
        </p:nvSpPr>
        <p:spPr>
          <a:xfrm>
            <a:off x="2164080" y="4424732"/>
            <a:ext cx="3058160" cy="1981200"/>
          </a:xfrm>
          <a:custGeom>
            <a:avLst/>
            <a:gdLst>
              <a:gd name="connsiteX0" fmla="*/ 0 w 3058160"/>
              <a:gd name="connsiteY0" fmla="*/ 0 h 1981200"/>
              <a:gd name="connsiteX1" fmla="*/ 1950720 w 3058160"/>
              <a:gd name="connsiteY1" fmla="*/ 1026160 h 1981200"/>
              <a:gd name="connsiteX2" fmla="*/ 1391920 w 3058160"/>
              <a:gd name="connsiteY2" fmla="*/ 1117600 h 1981200"/>
              <a:gd name="connsiteX3" fmla="*/ 3058160 w 3058160"/>
              <a:gd name="connsiteY3" fmla="*/ 1981200 h 198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8160" h="1981200">
                <a:moveTo>
                  <a:pt x="0" y="0"/>
                </a:moveTo>
                <a:cubicBezTo>
                  <a:pt x="859366" y="419946"/>
                  <a:pt x="1718733" y="839893"/>
                  <a:pt x="1950720" y="1026160"/>
                </a:cubicBezTo>
                <a:cubicBezTo>
                  <a:pt x="2182707" y="1212427"/>
                  <a:pt x="1207347" y="958427"/>
                  <a:pt x="1391920" y="1117600"/>
                </a:cubicBezTo>
                <a:cubicBezTo>
                  <a:pt x="1576493" y="1276773"/>
                  <a:pt x="2711027" y="1867747"/>
                  <a:pt x="3058160" y="198120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3517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478" y="259815"/>
            <a:ext cx="10630722" cy="411592"/>
          </a:xfrm>
        </p:spPr>
        <p:txBody>
          <a:bodyPr/>
          <a:lstStyle/>
          <a:p>
            <a:r>
              <a:rPr lang="en-US" dirty="0"/>
              <a:t>Voice of the customer</a:t>
            </a:r>
            <a:endParaRPr lang="en-US" sz="3200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7651C53A-7613-282C-F18F-91E9071B9C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43339" y="885635"/>
            <a:ext cx="7035121" cy="3957570"/>
          </a:xfrm>
        </p:spPr>
        <p:txBody>
          <a:bodyPr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dirty="0"/>
              <a:t>Pain poin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dirty="0"/>
              <a:t>Questions on existing FMS desig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dirty="0"/>
              <a:t>Suggested improvemen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b="0" dirty="0"/>
              <a:t>Desired new features</a:t>
            </a:r>
          </a:p>
        </p:txBody>
      </p:sp>
    </p:spTree>
    <p:extLst>
      <p:ext uri="{BB962C8B-B14F-4D97-AF65-F5344CB8AC3E}">
        <p14:creationId xmlns:p14="http://schemas.microsoft.com/office/powerpoint/2010/main" val="3474371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342216"/>
            <a:ext cx="11201401" cy="411592"/>
          </a:xfrm>
        </p:spPr>
        <p:txBody>
          <a:bodyPr/>
          <a:lstStyle/>
          <a:p>
            <a:r>
              <a:rPr lang="en-US" sz="3200" dirty="0"/>
              <a:t>AGENDA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7651C53A-7613-282C-F18F-91E9071B9C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8742" y="1105081"/>
            <a:ext cx="11344657" cy="518357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VGP Capture Improv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VDEV Pointer Jum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Cruise Descent vs. Early Desc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uto Nav Preview Improv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Arrival Procedure Remov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Status of Previously Presented Improvement Idea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Voice of the Custom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71172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CA24AC-F86E-A313-947B-6EE67A367B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085E57-1807-D50D-23EF-751B745FB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1" y="285151"/>
            <a:ext cx="11468100" cy="419100"/>
          </a:xfrm>
        </p:spPr>
        <p:txBody>
          <a:bodyPr/>
          <a:lstStyle/>
          <a:p>
            <a:r>
              <a:rPr lang="en-US" dirty="0"/>
              <a:t>VGP capture Improvem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4B365-5054-5D72-274B-416F497B65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031" y="821637"/>
            <a:ext cx="4518895" cy="5542021"/>
          </a:xfrm>
        </p:spPr>
        <p:txBody>
          <a:bodyPr>
            <a:normAutofit/>
          </a:bodyPr>
          <a:lstStyle/>
          <a:p>
            <a:r>
              <a:rPr lang="en-US" sz="2000" u="sng" dirty="0"/>
              <a:t>Current Design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VGP captures when the aircraft is within 1-dot of glidepath when slowly converging to glidepath from below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1-dot on VDI scale is:</a:t>
            </a:r>
          </a:p>
          <a:p>
            <a:pPr marL="455613" lvl="3" indent="-228600">
              <a:buClr>
                <a:srgbClr val="FF0000"/>
              </a:buClr>
              <a:buFont typeface="Courier New" panose="02070309020205020404" pitchFamily="49" charset="0"/>
              <a:buChar char="o"/>
            </a:pPr>
            <a:r>
              <a:rPr lang="en-US" sz="1400" b="0" dirty="0"/>
              <a:t>250ft when &gt; 2nm from the FAF</a:t>
            </a:r>
          </a:p>
          <a:p>
            <a:pPr marL="455613" lvl="3" indent="-228600">
              <a:buClr>
                <a:srgbClr val="FF0000"/>
              </a:buClr>
              <a:buFont typeface="Courier New" panose="02070309020205020404" pitchFamily="49" charset="0"/>
              <a:buChar char="o"/>
            </a:pPr>
            <a:r>
              <a:rPr lang="en-US" sz="1400" dirty="0"/>
              <a:t>75ft when &lt; 2nm from the FAF</a:t>
            </a:r>
          </a:p>
          <a:p>
            <a:pPr marL="228600" indent="-2286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A significant pitch-up is observed if VGP is captured when 1-dot is 250ft</a:t>
            </a:r>
          </a:p>
          <a:p>
            <a:r>
              <a:rPr lang="en-US" sz="2000" u="sng" dirty="0"/>
              <a:t>New Design (GVII Block II and after)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VGP captures when the aircraft is within 75ft of glidepath regardless of VDI scale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Negligible pitch-up upon VGP cap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/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EB804-3EF3-9DB7-99CA-F23810EDD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3717" y="6480165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30D08DBF-917D-8A3B-76BE-8EB35673CDB2}"/>
              </a:ext>
            </a:extLst>
          </p:cNvPr>
          <p:cNvGrpSpPr/>
          <p:nvPr/>
        </p:nvGrpSpPr>
        <p:grpSpPr>
          <a:xfrm>
            <a:off x="4840188" y="1647824"/>
            <a:ext cx="7355371" cy="3889646"/>
            <a:chOff x="4734100" y="2457450"/>
            <a:chExt cx="7355371" cy="3889646"/>
          </a:xfrm>
        </p:grpSpPr>
        <p:sp>
          <p:nvSpPr>
            <p:cNvPr id="19" name="Parallelogram 18">
              <a:extLst>
                <a:ext uri="{FF2B5EF4-FFF2-40B4-BE49-F238E27FC236}">
                  <a16:creationId xmlns:a16="http://schemas.microsoft.com/office/drawing/2014/main" id="{145B1E60-7355-4C94-A8DB-00A87A07B98A}"/>
                </a:ext>
              </a:extLst>
            </p:cNvPr>
            <p:cNvSpPr/>
            <p:nvPr/>
          </p:nvSpPr>
          <p:spPr>
            <a:xfrm rot="1499837" flipH="1">
              <a:off x="8107316" y="4709178"/>
              <a:ext cx="3982155" cy="383198"/>
            </a:xfrm>
            <a:prstGeom prst="parallelogram">
              <a:avLst>
                <a:gd name="adj" fmla="val 52022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C1283418-F8D0-1CA9-C8C7-5B568161A14B}"/>
                </a:ext>
              </a:extLst>
            </p:cNvPr>
            <p:cNvSpPr/>
            <p:nvPr/>
          </p:nvSpPr>
          <p:spPr>
            <a:xfrm rot="1499837" flipH="1">
              <a:off x="5198047" y="3309948"/>
              <a:ext cx="3610522" cy="1167655"/>
            </a:xfrm>
            <a:prstGeom prst="parallelogram">
              <a:avLst>
                <a:gd name="adj" fmla="val 47595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CA7A4DF-6722-6A18-715A-1A5204B61104}"/>
                </a:ext>
              </a:extLst>
            </p:cNvPr>
            <p:cNvGrpSpPr/>
            <p:nvPr/>
          </p:nvGrpSpPr>
          <p:grpSpPr>
            <a:xfrm>
              <a:off x="4774882" y="2592252"/>
              <a:ext cx="7064692" cy="2870216"/>
              <a:chOff x="2129667" y="2556803"/>
              <a:chExt cx="7330736" cy="2870216"/>
            </a:xfrm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D8115DEF-5614-0373-7924-C2E600858DD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036002" y="2556803"/>
                <a:ext cx="6424401" cy="2870216"/>
              </a:xfrm>
              <a:prstGeom prst="line">
                <a:avLst/>
              </a:prstGeom>
              <a:ln w="25400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8963BE1C-953B-E7BD-360B-723A3971F4D9}"/>
                  </a:ext>
                </a:extLst>
              </p:cNvPr>
              <p:cNvSpPr txBox="1"/>
              <p:nvPr/>
            </p:nvSpPr>
            <p:spPr>
              <a:xfrm>
                <a:off x="8085174" y="5099157"/>
                <a:ext cx="347855" cy="18328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200" dirty="0"/>
                  <a:t>FAF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8F1EB1F-6D05-B51D-E10D-20EE44BCDC28}"/>
                  </a:ext>
                </a:extLst>
              </p:cNvPr>
              <p:cNvSpPr txBox="1"/>
              <p:nvPr/>
            </p:nvSpPr>
            <p:spPr>
              <a:xfrm>
                <a:off x="3229661" y="3236876"/>
                <a:ext cx="81338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1200" dirty="0"/>
                  <a:t>1-dot (250’)</a:t>
                </a:r>
              </a:p>
            </p:txBody>
          </p: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3060F4BC-7A5F-AF8A-B754-26380A454D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72639" y="3432371"/>
                <a:ext cx="0" cy="1666786"/>
              </a:xfrm>
              <a:prstGeom prst="straightConnector1">
                <a:avLst/>
              </a:prstGeom>
              <a:ln w="3175">
                <a:solidFill>
                  <a:schemeClr val="tx1"/>
                </a:solidFill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79DEBDFA-973F-F51F-CFC5-52929C9665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rot="20888876">
                <a:off x="2129667" y="3765754"/>
                <a:ext cx="864018" cy="440571"/>
              </a:xfrm>
              <a:prstGeom prst="rect">
                <a:avLst/>
              </a:prstGeom>
            </p:spPr>
          </p:pic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4A2CB6F0-5B0F-C971-B2F8-E7B4953AAD4C}"/>
                  </a:ext>
                </a:extLst>
              </p:cNvPr>
              <p:cNvSpPr txBox="1"/>
              <p:nvPr/>
            </p:nvSpPr>
            <p:spPr>
              <a:xfrm>
                <a:off x="4158072" y="2827070"/>
                <a:ext cx="174735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400" dirty="0">
                    <a:solidFill>
                      <a:srgbClr val="FFC000"/>
                    </a:solidFill>
                  </a:rPr>
                  <a:t>VGP Glidepath</a:t>
                </a:r>
              </a:p>
            </p:txBody>
          </p:sp>
          <p:sp>
            <p:nvSpPr>
              <p:cNvPr id="9" name="Isosceles Triangle 8">
                <a:extLst>
                  <a:ext uri="{FF2B5EF4-FFF2-40B4-BE49-F238E27FC236}">
                    <a16:creationId xmlns:a16="http://schemas.microsoft.com/office/drawing/2014/main" id="{520D56EA-0E49-FB6F-7D88-94B8D43BAFB4}"/>
                  </a:ext>
                </a:extLst>
              </p:cNvPr>
              <p:cNvSpPr/>
              <p:nvPr/>
            </p:nvSpPr>
            <p:spPr>
              <a:xfrm>
                <a:off x="8127816" y="4936916"/>
                <a:ext cx="170805" cy="162241"/>
              </a:xfrm>
              <a:prstGeom prst="triangl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" name="Straight Connector 1">
                <a:extLst>
                  <a:ext uri="{FF2B5EF4-FFF2-40B4-BE49-F238E27FC236}">
                    <a16:creationId xmlns:a16="http://schemas.microsoft.com/office/drawing/2014/main" id="{E2F1C55F-6EE4-D173-16AE-A2CEEFE95CF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2949793" y="4062662"/>
                <a:ext cx="5257469" cy="848675"/>
              </a:xfrm>
              <a:prstGeom prst="line">
                <a:avLst/>
              </a:prstGeom>
              <a:ln w="25400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6B00013-5F6E-9ACA-EB6D-DDA3F8BB827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635962" y="4953315"/>
              <a:ext cx="1203613" cy="552077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62E5513-AC2F-1C7A-FAC0-FE6A198681B1}"/>
                </a:ext>
              </a:extLst>
            </p:cNvPr>
            <p:cNvSpPr txBox="1"/>
            <p:nvPr/>
          </p:nvSpPr>
          <p:spPr>
            <a:xfrm>
              <a:off x="5021111" y="4290688"/>
              <a:ext cx="168394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rgbClr val="00B050"/>
                  </a:solidFill>
                </a:rPr>
                <a:t>Descent Path with Decel Segment</a:t>
              </a: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8998CB1E-202B-4BFA-8728-5BD64FEBD983}"/>
                </a:ext>
              </a:extLst>
            </p:cNvPr>
            <p:cNvSpPr/>
            <p:nvPr/>
          </p:nvSpPr>
          <p:spPr>
            <a:xfrm>
              <a:off x="6110604" y="3938549"/>
              <a:ext cx="3720437" cy="390442"/>
            </a:xfrm>
            <a:prstGeom prst="arc">
              <a:avLst>
                <a:gd name="adj1" fmla="val 5423965"/>
                <a:gd name="adj2" fmla="val 10546428"/>
              </a:avLst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Arc 45">
              <a:extLst>
                <a:ext uri="{FF2B5EF4-FFF2-40B4-BE49-F238E27FC236}">
                  <a16:creationId xmlns:a16="http://schemas.microsoft.com/office/drawing/2014/main" id="{8F9BAFFA-E3F8-949B-7FD7-F071C23C55D0}"/>
                </a:ext>
              </a:extLst>
            </p:cNvPr>
            <p:cNvSpPr/>
            <p:nvPr/>
          </p:nvSpPr>
          <p:spPr>
            <a:xfrm>
              <a:off x="6110604" y="4322052"/>
              <a:ext cx="3621110" cy="390442"/>
            </a:xfrm>
            <a:prstGeom prst="arc">
              <a:avLst>
                <a:gd name="adj1" fmla="val 15937058"/>
                <a:gd name="adj2" fmla="val 21514287"/>
              </a:avLst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167E049C-88B1-B2F3-25AB-831DDC22E2C3}"/>
                </a:ext>
              </a:extLst>
            </p:cNvPr>
            <p:cNvCxnSpPr>
              <a:cxnSpLocks/>
            </p:cNvCxnSpPr>
            <p:nvPr/>
          </p:nvCxnSpPr>
          <p:spPr>
            <a:xfrm>
              <a:off x="10641604" y="3467820"/>
              <a:ext cx="0" cy="1478966"/>
            </a:xfrm>
            <a:prstGeom prst="straightConnector1">
              <a:avLst/>
            </a:prstGeom>
            <a:ln w="3175">
              <a:solidFill>
                <a:schemeClr val="tx1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Arc 49">
              <a:extLst>
                <a:ext uri="{FF2B5EF4-FFF2-40B4-BE49-F238E27FC236}">
                  <a16:creationId xmlns:a16="http://schemas.microsoft.com/office/drawing/2014/main" id="{968CAC62-373B-A645-4F00-0FD9F3557CEC}"/>
                </a:ext>
              </a:extLst>
            </p:cNvPr>
            <p:cNvSpPr/>
            <p:nvPr/>
          </p:nvSpPr>
          <p:spPr>
            <a:xfrm>
              <a:off x="8866480" y="4374318"/>
              <a:ext cx="2258661" cy="390442"/>
            </a:xfrm>
            <a:prstGeom prst="arc">
              <a:avLst>
                <a:gd name="adj1" fmla="val 6825718"/>
                <a:gd name="adj2" fmla="val 10089200"/>
              </a:avLst>
            </a:prstGeom>
            <a:ln w="254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Arc 50">
              <a:extLst>
                <a:ext uri="{FF2B5EF4-FFF2-40B4-BE49-F238E27FC236}">
                  <a16:creationId xmlns:a16="http://schemas.microsoft.com/office/drawing/2014/main" id="{87652117-06AD-5842-5493-7015668A69E9}"/>
                </a:ext>
              </a:extLst>
            </p:cNvPr>
            <p:cNvSpPr/>
            <p:nvPr/>
          </p:nvSpPr>
          <p:spPr>
            <a:xfrm>
              <a:off x="8916988" y="4764760"/>
              <a:ext cx="1755656" cy="422574"/>
            </a:xfrm>
            <a:prstGeom prst="arc">
              <a:avLst>
                <a:gd name="adj1" fmla="val 17737985"/>
                <a:gd name="adj2" fmla="val 20961319"/>
              </a:avLst>
            </a:prstGeom>
            <a:ln w="254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53200334-B319-21D4-303C-A1543D9D6E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82015" y="3651353"/>
              <a:ext cx="2259589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C7EB8EF-8B37-F486-7526-7428A0E5887F}"/>
                </a:ext>
              </a:extLst>
            </p:cNvPr>
            <p:cNvSpPr txBox="1"/>
            <p:nvPr/>
          </p:nvSpPr>
          <p:spPr>
            <a:xfrm>
              <a:off x="9344550" y="3485617"/>
              <a:ext cx="34144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2 nm</a:t>
              </a:r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:a16="http://schemas.microsoft.com/office/drawing/2014/main" id="{35B0B64C-07E0-8C61-5F1E-9794E31AB07A}"/>
                </a:ext>
              </a:extLst>
            </p:cNvPr>
            <p:cNvCxnSpPr>
              <a:cxnSpLocks/>
            </p:cNvCxnSpPr>
            <p:nvPr/>
          </p:nvCxnSpPr>
          <p:spPr>
            <a:xfrm>
              <a:off x="5762640" y="2636716"/>
              <a:ext cx="0" cy="1301833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20A6823B-EC41-CFB5-C9FE-11469FA146A9}"/>
                </a:ext>
              </a:extLst>
            </p:cNvPr>
            <p:cNvCxnSpPr>
              <a:cxnSpLocks/>
            </p:cNvCxnSpPr>
            <p:nvPr/>
          </p:nvCxnSpPr>
          <p:spPr>
            <a:xfrm>
              <a:off x="11690662" y="5452943"/>
              <a:ext cx="0" cy="389442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B36A66A9-6C43-A10F-428D-89CB9AA021E4}"/>
                </a:ext>
              </a:extLst>
            </p:cNvPr>
            <p:cNvSpPr txBox="1"/>
            <p:nvPr/>
          </p:nvSpPr>
          <p:spPr>
            <a:xfrm>
              <a:off x="10924301" y="5533781"/>
              <a:ext cx="69890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1-dot (75’)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CD9152F-F598-61EF-E46E-EB2BB8A12DA2}"/>
                </a:ext>
              </a:extLst>
            </p:cNvPr>
            <p:cNvSpPr/>
            <p:nvPr/>
          </p:nvSpPr>
          <p:spPr>
            <a:xfrm>
              <a:off x="4734100" y="2457450"/>
              <a:ext cx="7172150" cy="3889646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A5DB0DC4-AD63-7923-2EF2-EC3F357EC0A2}"/>
                </a:ext>
              </a:extLst>
            </p:cNvPr>
            <p:cNvSpPr/>
            <p:nvPr/>
          </p:nvSpPr>
          <p:spPr>
            <a:xfrm>
              <a:off x="4849721" y="5696859"/>
              <a:ext cx="3765737" cy="507393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C194811-BE30-C3ED-9A63-9AA7EC5BDC4F}"/>
                </a:ext>
              </a:extLst>
            </p:cNvPr>
            <p:cNvSpPr txBox="1"/>
            <p:nvPr/>
          </p:nvSpPr>
          <p:spPr>
            <a:xfrm>
              <a:off x="4918684" y="5747856"/>
              <a:ext cx="280801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Existing VGP Capture at 250’ Below Path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C64365E-ABB7-7EB2-5D16-5DFF97C6D83D}"/>
                </a:ext>
              </a:extLst>
            </p:cNvPr>
            <p:cNvSpPr txBox="1"/>
            <p:nvPr/>
          </p:nvSpPr>
          <p:spPr>
            <a:xfrm>
              <a:off x="4918684" y="5966477"/>
              <a:ext cx="282564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Improved VGP Capture at 75’ Below Path</a:t>
              </a: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ED079EA7-B84B-1346-4502-94982AE8B3F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75818" y="5839979"/>
              <a:ext cx="607604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1611495-D146-4CA7-BE8B-48532BFEAB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875818" y="6049529"/>
              <a:ext cx="607604" cy="0"/>
            </a:xfrm>
            <a:prstGeom prst="line">
              <a:avLst/>
            </a:prstGeom>
            <a:ln w="254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4022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CA24AC-F86E-A313-947B-6EE67A367B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085E57-1807-D50D-23EF-751B745FB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833" y="284792"/>
            <a:ext cx="11357297" cy="419100"/>
          </a:xfrm>
        </p:spPr>
        <p:txBody>
          <a:bodyPr/>
          <a:lstStyle/>
          <a:p>
            <a:r>
              <a:rPr lang="en-US" dirty="0"/>
              <a:t>VDEV Pointer Jump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4B365-5054-5D72-274B-416F497B65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030" y="821637"/>
            <a:ext cx="4471187" cy="5542021"/>
          </a:xfrm>
        </p:spPr>
        <p:txBody>
          <a:bodyPr>
            <a:normAutofit/>
          </a:bodyPr>
          <a:lstStyle/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If VDEV pointer is not centered when the scale changes at 2nm from the FAF, the pointer will appear to jump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This is often seen with VGP preview pointer when aircraft slowly converges to the glidepath in VPATH mode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VGP capture logic update will increase the chance of seeing a VGP pointer jump due to delayed VGP capt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/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EB804-3EF3-9DB7-99CA-F23810EDD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3717" y="6480165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pPr/>
              <a:t>4</a:t>
            </a:fld>
            <a:endParaRPr lang="en-US" dirty="0"/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8E46C215-88A6-155D-EB41-207A3FF5EE38}"/>
              </a:ext>
            </a:extLst>
          </p:cNvPr>
          <p:cNvGrpSpPr/>
          <p:nvPr/>
        </p:nvGrpSpPr>
        <p:grpSpPr>
          <a:xfrm>
            <a:off x="4750677" y="703892"/>
            <a:ext cx="7252137" cy="5776272"/>
            <a:chOff x="4750677" y="703892"/>
            <a:chExt cx="7252137" cy="5776272"/>
          </a:xfrm>
        </p:grpSpPr>
        <p:sp>
          <p:nvSpPr>
            <p:cNvPr id="12" name="Parallelogram 11">
              <a:extLst>
                <a:ext uri="{FF2B5EF4-FFF2-40B4-BE49-F238E27FC236}">
                  <a16:creationId xmlns:a16="http://schemas.microsoft.com/office/drawing/2014/main" id="{6943B062-93F8-BAF3-C916-A5EC44C33DAB}"/>
                </a:ext>
              </a:extLst>
            </p:cNvPr>
            <p:cNvSpPr/>
            <p:nvPr/>
          </p:nvSpPr>
          <p:spPr>
            <a:xfrm rot="1499837" flipH="1">
              <a:off x="8076549" y="2879593"/>
              <a:ext cx="3926265" cy="381178"/>
            </a:xfrm>
            <a:prstGeom prst="parallelogram">
              <a:avLst>
                <a:gd name="adj" fmla="val 52022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8E50BF9D-8782-D299-51AF-147987A0E043}"/>
                </a:ext>
              </a:extLst>
            </p:cNvPr>
            <p:cNvSpPr/>
            <p:nvPr/>
          </p:nvSpPr>
          <p:spPr>
            <a:xfrm rot="1499837" flipH="1">
              <a:off x="5208111" y="1487737"/>
              <a:ext cx="3559848" cy="1161501"/>
            </a:xfrm>
            <a:prstGeom prst="parallelogram">
              <a:avLst>
                <a:gd name="adj" fmla="val 47595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23B1F73-B221-25A5-6DB6-0BDAD9714938}"/>
                </a:ext>
              </a:extLst>
            </p:cNvPr>
            <p:cNvGrpSpPr/>
            <p:nvPr/>
          </p:nvGrpSpPr>
          <p:grpSpPr>
            <a:xfrm>
              <a:off x="4790886" y="773823"/>
              <a:ext cx="6965539" cy="5589835"/>
              <a:chOff x="2129667" y="2556803"/>
              <a:chExt cx="7330736" cy="5619451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F129C24-5689-6A3B-38D9-D4A418D5CF8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036002" y="2556803"/>
                <a:ext cx="6424401" cy="2870216"/>
              </a:xfrm>
              <a:prstGeom prst="line">
                <a:avLst/>
              </a:prstGeom>
              <a:ln w="25400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99028FE0-3AE3-2DCA-7977-775D1138EB0F}"/>
                  </a:ext>
                </a:extLst>
              </p:cNvPr>
              <p:cNvSpPr txBox="1"/>
              <p:nvPr/>
            </p:nvSpPr>
            <p:spPr>
              <a:xfrm>
                <a:off x="8085174" y="5099157"/>
                <a:ext cx="347855" cy="18328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200" dirty="0"/>
                  <a:t>FAF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14D82578-CFC8-6331-261F-4734263066D6}"/>
                  </a:ext>
                </a:extLst>
              </p:cNvPr>
              <p:cNvSpPr txBox="1"/>
              <p:nvPr/>
            </p:nvSpPr>
            <p:spPr>
              <a:xfrm>
                <a:off x="3229661" y="3236876"/>
                <a:ext cx="813388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1200" dirty="0"/>
                  <a:t>1-dot (250’)</a:t>
                </a:r>
              </a:p>
            </p:txBody>
          </p: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7CE8F49A-99E4-A948-01E5-2D9D7E2F14B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872637" y="3450168"/>
                <a:ext cx="1" cy="4726086"/>
              </a:xfrm>
              <a:prstGeom prst="straightConnector1">
                <a:avLst/>
              </a:prstGeom>
              <a:ln w="3175">
                <a:solidFill>
                  <a:schemeClr val="tx1"/>
                </a:solidFill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7299FB79-7610-4F0C-35D2-96A994A62A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rot="20888876">
                <a:off x="2129667" y="3533303"/>
                <a:ext cx="864018" cy="440571"/>
              </a:xfrm>
              <a:prstGeom prst="rect">
                <a:avLst/>
              </a:prstGeom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0ACCCE7-4DF2-9C7A-8FE8-E311FC988338}"/>
                  </a:ext>
                </a:extLst>
              </p:cNvPr>
              <p:cNvSpPr txBox="1"/>
              <p:nvPr/>
            </p:nvSpPr>
            <p:spPr>
              <a:xfrm>
                <a:off x="3670938" y="2659626"/>
                <a:ext cx="1747358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400" dirty="0">
                    <a:solidFill>
                      <a:srgbClr val="FFC000"/>
                    </a:solidFill>
                  </a:rPr>
                  <a:t>VGP Glidepath</a:t>
                </a:r>
              </a:p>
            </p:txBody>
          </p:sp>
          <p:sp>
            <p:nvSpPr>
              <p:cNvPr id="56" name="Isosceles Triangle 55">
                <a:extLst>
                  <a:ext uri="{FF2B5EF4-FFF2-40B4-BE49-F238E27FC236}">
                    <a16:creationId xmlns:a16="http://schemas.microsoft.com/office/drawing/2014/main" id="{0E1A1D21-22A6-D2F6-6F49-6C0953A654C0}"/>
                  </a:ext>
                </a:extLst>
              </p:cNvPr>
              <p:cNvSpPr/>
              <p:nvPr/>
            </p:nvSpPr>
            <p:spPr>
              <a:xfrm>
                <a:off x="8127816" y="4936916"/>
                <a:ext cx="170805" cy="162241"/>
              </a:xfrm>
              <a:prstGeom prst="triangl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992A12FF-E5CA-8160-3259-F8ABEBB5764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031840" y="3846881"/>
                <a:ext cx="5189643" cy="1069930"/>
              </a:xfrm>
              <a:prstGeom prst="line">
                <a:avLst/>
              </a:prstGeom>
              <a:ln w="25400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2C4051E-D670-D584-3435-6E91D61CE4F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569705" y="3122443"/>
              <a:ext cx="1186720" cy="549167"/>
            </a:xfrm>
            <a:prstGeom prst="line">
              <a:avLst/>
            </a:prstGeom>
            <a:ln w="254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1BC5FEE-7966-5601-83A3-F691937F0C8D}"/>
                </a:ext>
              </a:extLst>
            </p:cNvPr>
            <p:cNvSpPr txBox="1"/>
            <p:nvPr/>
          </p:nvSpPr>
          <p:spPr>
            <a:xfrm>
              <a:off x="6255374" y="1759583"/>
              <a:ext cx="1660310" cy="4286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rgbClr val="00B050"/>
                  </a:solidFill>
                </a:rPr>
                <a:t>Descent Path with Decel Segment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FB21BAD4-B214-1116-D222-3901BF86E2DB}"/>
                </a:ext>
              </a:extLst>
            </p:cNvPr>
            <p:cNvCxnSpPr>
              <a:cxnSpLocks/>
            </p:cNvCxnSpPr>
            <p:nvPr/>
          </p:nvCxnSpPr>
          <p:spPr>
            <a:xfrm>
              <a:off x="10575268" y="1644777"/>
              <a:ext cx="0" cy="1471171"/>
            </a:xfrm>
            <a:prstGeom prst="straightConnector1">
              <a:avLst/>
            </a:prstGeom>
            <a:ln w="3175">
              <a:solidFill>
                <a:schemeClr val="tx1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A962383C-C26E-3B8F-FBF7-BECE339D41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47392" y="1827343"/>
              <a:ext cx="2227876" cy="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A78E5CA-2843-A19B-7DAB-7CEC68D11C6C}"/>
                </a:ext>
              </a:extLst>
            </p:cNvPr>
            <p:cNvSpPr txBox="1"/>
            <p:nvPr/>
          </p:nvSpPr>
          <p:spPr>
            <a:xfrm>
              <a:off x="9296418" y="1662480"/>
              <a:ext cx="336648" cy="18369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2 nm</a:t>
              </a:r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5B2E47B1-7B89-6D0C-15BA-2B3D904CC997}"/>
                </a:ext>
              </a:extLst>
            </p:cNvPr>
            <p:cNvCxnSpPr>
              <a:cxnSpLocks/>
            </p:cNvCxnSpPr>
            <p:nvPr/>
          </p:nvCxnSpPr>
          <p:spPr>
            <a:xfrm>
              <a:off x="5764780" y="818053"/>
              <a:ext cx="0" cy="1294972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6F23C954-CBBD-5CAA-BB04-F1009153BEE3}"/>
                </a:ext>
              </a:extLst>
            </p:cNvPr>
            <p:cNvCxnSpPr>
              <a:cxnSpLocks/>
            </p:cNvCxnSpPr>
            <p:nvPr/>
          </p:nvCxnSpPr>
          <p:spPr>
            <a:xfrm>
              <a:off x="11609602" y="3619438"/>
              <a:ext cx="0" cy="387390"/>
            </a:xfrm>
            <a:prstGeom prst="straightConnector1">
              <a:avLst/>
            </a:prstGeom>
            <a:ln w="3175">
              <a:solidFill>
                <a:schemeClr val="tx1"/>
              </a:solidFill>
              <a:headEnd type="arrow" w="lg" len="med"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E71CB06-DB59-6577-57E0-11F4721A5961}"/>
                </a:ext>
              </a:extLst>
            </p:cNvPr>
            <p:cNvSpPr txBox="1"/>
            <p:nvPr/>
          </p:nvSpPr>
          <p:spPr>
            <a:xfrm>
              <a:off x="10853997" y="3699850"/>
              <a:ext cx="689100" cy="18369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1-dot (75’)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15B724E-6665-AD27-0C78-67203DAC36A3}"/>
                </a:ext>
              </a:extLst>
            </p:cNvPr>
            <p:cNvSpPr/>
            <p:nvPr/>
          </p:nvSpPr>
          <p:spPr>
            <a:xfrm>
              <a:off x="4750677" y="703892"/>
              <a:ext cx="7071489" cy="5776272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86DE559A-F31F-84E2-86C8-67D7B42D1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575168" y="4249435"/>
              <a:ext cx="3126262" cy="2067929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366888B5-3ED7-FA76-488F-FA5F562D4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30593" y="4235372"/>
              <a:ext cx="3211208" cy="2081992"/>
            </a:xfrm>
            <a:prstGeom prst="rect">
              <a:avLst/>
            </a:prstGeom>
          </p:spPr>
        </p:pic>
        <p:sp>
          <p:nvSpPr>
            <p:cNvPr id="70" name="Arrow: Down 69">
              <a:extLst>
                <a:ext uri="{FF2B5EF4-FFF2-40B4-BE49-F238E27FC236}">
                  <a16:creationId xmlns:a16="http://schemas.microsoft.com/office/drawing/2014/main" id="{CE4B486E-47F2-F365-0EB4-09CD6BDD8594}"/>
                </a:ext>
              </a:extLst>
            </p:cNvPr>
            <p:cNvSpPr/>
            <p:nvPr/>
          </p:nvSpPr>
          <p:spPr>
            <a:xfrm rot="13026499">
              <a:off x="7467842" y="2480729"/>
              <a:ext cx="267114" cy="1834492"/>
            </a:xfrm>
            <a:prstGeom prst="downArrow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Arrow: Down 70">
              <a:extLst>
                <a:ext uri="{FF2B5EF4-FFF2-40B4-BE49-F238E27FC236}">
                  <a16:creationId xmlns:a16="http://schemas.microsoft.com/office/drawing/2014/main" id="{EDD8F445-1F05-60EA-0E42-E7030E3DBCFA}"/>
                </a:ext>
              </a:extLst>
            </p:cNvPr>
            <p:cNvSpPr/>
            <p:nvPr/>
          </p:nvSpPr>
          <p:spPr>
            <a:xfrm rot="8461589">
              <a:off x="8952436" y="2503598"/>
              <a:ext cx="267114" cy="1866200"/>
            </a:xfrm>
            <a:prstGeom prst="downArrow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C3C4FFE3-FAF4-E42A-C510-3D3AAA748379}"/>
              </a:ext>
            </a:extLst>
          </p:cNvPr>
          <p:cNvSpPr txBox="1"/>
          <p:nvPr/>
        </p:nvSpPr>
        <p:spPr>
          <a:xfrm>
            <a:off x="7647481" y="1369544"/>
            <a:ext cx="16603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7030A0"/>
                </a:solidFill>
              </a:rPr>
              <a:t>VDI Scale Change</a:t>
            </a:r>
          </a:p>
        </p:txBody>
      </p:sp>
    </p:spTree>
    <p:extLst>
      <p:ext uri="{BB962C8B-B14F-4D97-AF65-F5344CB8AC3E}">
        <p14:creationId xmlns:p14="http://schemas.microsoft.com/office/powerpoint/2010/main" val="2712141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20F7941-2E02-47FA-BD4A-BCA6CD1F6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22050"/>
            <a:ext cx="11201401" cy="419100"/>
          </a:xfrm>
        </p:spPr>
        <p:txBody>
          <a:bodyPr/>
          <a:lstStyle/>
          <a:p>
            <a:r>
              <a:rPr lang="en-US" dirty="0"/>
              <a:t>Cruise descent vs. early desc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39E2DB-EC41-41B9-B022-7B79ED9F6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1658" y="762680"/>
            <a:ext cx="11317161" cy="76223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A pilot-initiated descent from cruise altitude before the Top-Of-Descent (TOD) is classified as Cruise Descent or Early Descent based on the distance to TO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7B5B5-1A38-4AFB-8A9A-4C4C62BCA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4456566-375E-484C-A85E-712770795D6D}"/>
              </a:ext>
            </a:extLst>
          </p:cNvPr>
          <p:cNvSpPr/>
          <p:nvPr/>
        </p:nvSpPr>
        <p:spPr>
          <a:xfrm>
            <a:off x="2164080" y="4424732"/>
            <a:ext cx="3058160" cy="1981200"/>
          </a:xfrm>
          <a:custGeom>
            <a:avLst/>
            <a:gdLst>
              <a:gd name="connsiteX0" fmla="*/ 0 w 3058160"/>
              <a:gd name="connsiteY0" fmla="*/ 0 h 1981200"/>
              <a:gd name="connsiteX1" fmla="*/ 1950720 w 3058160"/>
              <a:gd name="connsiteY1" fmla="*/ 1026160 h 1981200"/>
              <a:gd name="connsiteX2" fmla="*/ 1391920 w 3058160"/>
              <a:gd name="connsiteY2" fmla="*/ 1117600 h 1981200"/>
              <a:gd name="connsiteX3" fmla="*/ 3058160 w 3058160"/>
              <a:gd name="connsiteY3" fmla="*/ 1981200 h 198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8160" h="1981200">
                <a:moveTo>
                  <a:pt x="0" y="0"/>
                </a:moveTo>
                <a:cubicBezTo>
                  <a:pt x="859366" y="419946"/>
                  <a:pt x="1718733" y="839893"/>
                  <a:pt x="1950720" y="1026160"/>
                </a:cubicBezTo>
                <a:cubicBezTo>
                  <a:pt x="2182707" y="1212427"/>
                  <a:pt x="1207347" y="958427"/>
                  <a:pt x="1391920" y="1117600"/>
                </a:cubicBezTo>
                <a:cubicBezTo>
                  <a:pt x="1576493" y="1276773"/>
                  <a:pt x="2711027" y="1867747"/>
                  <a:pt x="3058160" y="198120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3" name="Table 8">
            <a:extLst>
              <a:ext uri="{FF2B5EF4-FFF2-40B4-BE49-F238E27FC236}">
                <a16:creationId xmlns:a16="http://schemas.microsoft.com/office/drawing/2014/main" id="{F3856C90-404C-450B-859B-732183A1C1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276217"/>
              </p:ext>
            </p:extLst>
          </p:nvPr>
        </p:nvGraphicFramePr>
        <p:xfrm>
          <a:off x="2164080" y="3577932"/>
          <a:ext cx="8079462" cy="176530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3096846">
                  <a:extLst>
                    <a:ext uri="{9D8B030D-6E8A-4147-A177-3AD203B41FA5}">
                      <a16:colId xmlns:a16="http://schemas.microsoft.com/office/drawing/2014/main" val="486390985"/>
                    </a:ext>
                  </a:extLst>
                </a:gridCol>
                <a:gridCol w="1854342">
                  <a:extLst>
                    <a:ext uri="{9D8B030D-6E8A-4147-A177-3AD203B41FA5}">
                      <a16:colId xmlns:a16="http://schemas.microsoft.com/office/drawing/2014/main" val="1764839343"/>
                    </a:ext>
                  </a:extLst>
                </a:gridCol>
                <a:gridCol w="3128274">
                  <a:extLst>
                    <a:ext uri="{9D8B030D-6E8A-4147-A177-3AD203B41FA5}">
                      <a16:colId xmlns:a16="http://schemas.microsoft.com/office/drawing/2014/main" val="3770539954"/>
                    </a:ext>
                  </a:extLst>
                </a:gridCol>
              </a:tblGrid>
              <a:tr h="28697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ruise Desc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arly Desc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321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VNAV mode if initiated with FLC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VFLC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VFLC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8330499"/>
                  </a:ext>
                </a:extLst>
              </a:tr>
              <a:tr h="123613">
                <a:tc>
                  <a:txBody>
                    <a:bodyPr/>
                    <a:lstStyle/>
                    <a:p>
                      <a:r>
                        <a:rPr lang="en-US" dirty="0"/>
                        <a:t>VNAV mode if initiated with FPA or V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VPATH @ -1000 fp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VPATH @ -1000 fpm above 10000’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VPATH @ -500 fpm below 10000’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624574"/>
                  </a:ext>
                </a:extLst>
              </a:tr>
              <a:tr h="242147">
                <a:tc>
                  <a:txBody>
                    <a:bodyPr/>
                    <a:lstStyle/>
                    <a:p>
                      <a:r>
                        <a:rPr lang="en-US" dirty="0"/>
                        <a:t>Cruise Altitu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Preselector Altitud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Unchang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9831715"/>
                  </a:ext>
                </a:extLst>
              </a:tr>
              <a:tr h="1236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light Pha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Cruis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esc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6905961"/>
                  </a:ext>
                </a:extLst>
              </a:tr>
            </a:tbl>
          </a:graphicData>
        </a:graphic>
      </p:graphicFrame>
      <p:grpSp>
        <p:nvGrpSpPr>
          <p:cNvPr id="25" name="Group 24">
            <a:extLst>
              <a:ext uri="{FF2B5EF4-FFF2-40B4-BE49-F238E27FC236}">
                <a16:creationId xmlns:a16="http://schemas.microsoft.com/office/drawing/2014/main" id="{3F85616E-990A-4C79-844F-C50B7AEB8ADF}"/>
              </a:ext>
            </a:extLst>
          </p:cNvPr>
          <p:cNvGrpSpPr/>
          <p:nvPr/>
        </p:nvGrpSpPr>
        <p:grpSpPr>
          <a:xfrm>
            <a:off x="879296" y="1539606"/>
            <a:ext cx="9644215" cy="1506227"/>
            <a:chOff x="-483419" y="3723496"/>
            <a:chExt cx="9644215" cy="1506227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DAD2398-959D-4B8C-BADE-8A9F5470FBAD}"/>
                </a:ext>
              </a:extLst>
            </p:cNvPr>
            <p:cNvCxnSpPr>
              <a:cxnSpLocks/>
            </p:cNvCxnSpPr>
            <p:nvPr/>
          </p:nvCxnSpPr>
          <p:spPr>
            <a:xfrm>
              <a:off x="1165023" y="4341053"/>
              <a:ext cx="6139431" cy="22524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103355FC-460F-4734-9DC0-341F9F47DAF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304455" y="4363578"/>
              <a:ext cx="1856341" cy="866145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Left Brace 29">
              <a:extLst>
                <a:ext uri="{FF2B5EF4-FFF2-40B4-BE49-F238E27FC236}">
                  <a16:creationId xmlns:a16="http://schemas.microsoft.com/office/drawing/2014/main" id="{3BB3191D-DCD8-4DEE-AB02-4E62DF11CA7D}"/>
                </a:ext>
              </a:extLst>
            </p:cNvPr>
            <p:cNvSpPr/>
            <p:nvPr/>
          </p:nvSpPr>
          <p:spPr>
            <a:xfrm rot="5400000">
              <a:off x="5194285" y="2299464"/>
              <a:ext cx="311863" cy="3771314"/>
            </a:xfrm>
            <a:prstGeom prst="leftBrace">
              <a:avLst>
                <a:gd name="adj1" fmla="val 100758"/>
                <a:gd name="adj2" fmla="val 50000"/>
              </a:avLst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1" name="Flowchart: Decision 30">
              <a:extLst>
                <a:ext uri="{FF2B5EF4-FFF2-40B4-BE49-F238E27FC236}">
                  <a16:creationId xmlns:a16="http://schemas.microsoft.com/office/drawing/2014/main" id="{3C2CB6E9-510B-4ED1-9D88-44149700043E}"/>
                </a:ext>
              </a:extLst>
            </p:cNvPr>
            <p:cNvSpPr/>
            <p:nvPr/>
          </p:nvSpPr>
          <p:spPr>
            <a:xfrm>
              <a:off x="7167294" y="4165012"/>
              <a:ext cx="274320" cy="416559"/>
            </a:xfrm>
            <a:prstGeom prst="flowChartDecision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47802F6-6D5C-4AEA-971B-1EE3333AF4AA}"/>
                </a:ext>
              </a:extLst>
            </p:cNvPr>
            <p:cNvSpPr txBox="1"/>
            <p:nvPr/>
          </p:nvSpPr>
          <p:spPr>
            <a:xfrm>
              <a:off x="7062881" y="3844510"/>
              <a:ext cx="4290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/>
                <a:t>TOD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33866065-9B3C-4016-A9F0-B9962A68F025}"/>
                </a:ext>
              </a:extLst>
            </p:cNvPr>
            <p:cNvSpPr txBox="1"/>
            <p:nvPr/>
          </p:nvSpPr>
          <p:spPr>
            <a:xfrm>
              <a:off x="4213138" y="3723496"/>
              <a:ext cx="198131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/>
                <a:t>Early Descent Region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B859B8A9-F008-496A-92F4-9266B37E85A1}"/>
                </a:ext>
              </a:extLst>
            </p:cNvPr>
            <p:cNvCxnSpPr>
              <a:cxnSpLocks/>
            </p:cNvCxnSpPr>
            <p:nvPr/>
          </p:nvCxnSpPr>
          <p:spPr>
            <a:xfrm>
              <a:off x="1943080" y="4369334"/>
              <a:ext cx="2316145" cy="697035"/>
            </a:xfrm>
            <a:prstGeom prst="straightConnector1">
              <a:avLst/>
            </a:prstGeom>
            <a:ln w="25400">
              <a:solidFill>
                <a:srgbClr val="0070C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210C1F08-3EC8-4193-BF0C-3C3F01C4F984}"/>
                </a:ext>
              </a:extLst>
            </p:cNvPr>
            <p:cNvCxnSpPr>
              <a:cxnSpLocks/>
            </p:cNvCxnSpPr>
            <p:nvPr/>
          </p:nvCxnSpPr>
          <p:spPr>
            <a:xfrm>
              <a:off x="4073744" y="4358798"/>
              <a:ext cx="2512564" cy="746031"/>
            </a:xfrm>
            <a:prstGeom prst="straightConnector1">
              <a:avLst/>
            </a:prstGeom>
            <a:ln w="2540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4A79EE42-7BEB-441A-A660-372CD55958DF}"/>
                </a:ext>
              </a:extLst>
            </p:cNvPr>
            <p:cNvSpPr txBox="1"/>
            <p:nvPr/>
          </p:nvSpPr>
          <p:spPr>
            <a:xfrm>
              <a:off x="4348198" y="4952724"/>
              <a:ext cx="1401025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rgbClr val="0070C0"/>
                  </a:solidFill>
                </a:rPr>
                <a:t>Cruise Descent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8B14D5D-306E-4C59-8002-5565060D746A}"/>
                </a:ext>
              </a:extLst>
            </p:cNvPr>
            <p:cNvSpPr txBox="1"/>
            <p:nvPr/>
          </p:nvSpPr>
          <p:spPr>
            <a:xfrm>
              <a:off x="6648181" y="4927870"/>
              <a:ext cx="127599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600" dirty="0">
                  <a:solidFill>
                    <a:srgbClr val="00B050"/>
                  </a:solidFill>
                </a:rPr>
                <a:t>Early Descent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3C85F710-3839-4B79-88C8-28ADCF6474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0892217">
              <a:off x="-483419" y="4093936"/>
              <a:ext cx="1676400" cy="485775"/>
            </a:xfrm>
            <a:prstGeom prst="rect">
              <a:avLst/>
            </a:prstGeom>
          </p:spPr>
        </p:pic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CB7B05E-FA9C-42E0-9DA9-031CC779DEB5}"/>
              </a:ext>
            </a:extLst>
          </p:cNvPr>
          <p:cNvSpPr txBox="1"/>
          <p:nvPr/>
        </p:nvSpPr>
        <p:spPr>
          <a:xfrm>
            <a:off x="2614170" y="1885705"/>
            <a:ext cx="82618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/>
              <a:t>CRZ AL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7F13AF6-7D4E-488A-BD0B-2645D11C12CA}"/>
              </a:ext>
            </a:extLst>
          </p:cNvPr>
          <p:cNvSpPr txBox="1"/>
          <p:nvPr/>
        </p:nvSpPr>
        <p:spPr>
          <a:xfrm>
            <a:off x="9627989" y="2315828"/>
            <a:ext cx="123110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/>
              <a:t>Descent Path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B0D8A97-4DEA-D9B8-CD4E-3A2AE7B5A5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233471"/>
              </p:ext>
            </p:extLst>
          </p:nvPr>
        </p:nvGraphicFramePr>
        <p:xfrm>
          <a:off x="2164080" y="5758240"/>
          <a:ext cx="8079463" cy="66802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522095">
                  <a:extLst>
                    <a:ext uri="{9D8B030D-6E8A-4147-A177-3AD203B41FA5}">
                      <a16:colId xmlns:a16="http://schemas.microsoft.com/office/drawing/2014/main" val="1810298299"/>
                    </a:ext>
                  </a:extLst>
                </a:gridCol>
                <a:gridCol w="1971675">
                  <a:extLst>
                    <a:ext uri="{9D8B030D-6E8A-4147-A177-3AD203B41FA5}">
                      <a16:colId xmlns:a16="http://schemas.microsoft.com/office/drawing/2014/main" val="4158029091"/>
                    </a:ext>
                  </a:extLst>
                </a:gridCol>
                <a:gridCol w="2771775">
                  <a:extLst>
                    <a:ext uri="{9D8B030D-6E8A-4147-A177-3AD203B41FA5}">
                      <a16:colId xmlns:a16="http://schemas.microsoft.com/office/drawing/2014/main" val="3621577655"/>
                    </a:ext>
                  </a:extLst>
                </a:gridCol>
                <a:gridCol w="1813918">
                  <a:extLst>
                    <a:ext uri="{9D8B030D-6E8A-4147-A177-3AD203B41FA5}">
                      <a16:colId xmlns:a16="http://schemas.microsoft.com/office/drawing/2014/main" val="683825431"/>
                    </a:ext>
                  </a:extLst>
                </a:gridCol>
              </a:tblGrid>
              <a:tr h="28112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VI Blk 2 and pri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VI Blk 3 / GVII Blk 1 and pri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VIII / GVII Blk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30039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Distance to T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00 n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0 n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50 n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5115273"/>
                  </a:ext>
                </a:extLst>
              </a:tr>
            </a:tbl>
          </a:graphicData>
        </a:graphic>
      </p:graphicFrame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9AE8CD9B-D9A1-E125-3070-80A6EB967A50}"/>
              </a:ext>
            </a:extLst>
          </p:cNvPr>
          <p:cNvSpPr txBox="1">
            <a:spLocks/>
          </p:cNvSpPr>
          <p:nvPr/>
        </p:nvSpPr>
        <p:spPr>
          <a:xfrm>
            <a:off x="4791364" y="3329507"/>
            <a:ext cx="2901403" cy="27699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70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2222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986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111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0" dirty="0"/>
              <a:t>Cruise Descent vs. Early Descent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032905C2-6A89-9335-F289-4403B2D4B6B9}"/>
              </a:ext>
            </a:extLst>
          </p:cNvPr>
          <p:cNvSpPr txBox="1">
            <a:spLocks/>
          </p:cNvSpPr>
          <p:nvPr/>
        </p:nvSpPr>
        <p:spPr>
          <a:xfrm>
            <a:off x="5262229" y="5504511"/>
            <a:ext cx="2901403" cy="27699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C202E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2701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2222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9863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2950" indent="-111125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0" dirty="0"/>
              <a:t>Early Descent Region</a:t>
            </a:r>
          </a:p>
        </p:txBody>
      </p:sp>
    </p:spTree>
    <p:extLst>
      <p:ext uri="{BB962C8B-B14F-4D97-AF65-F5344CB8AC3E}">
        <p14:creationId xmlns:p14="http://schemas.microsoft.com/office/powerpoint/2010/main" val="1316613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20F7941-2E02-47FA-BD4A-BCA6CD1F6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22050"/>
            <a:ext cx="11201401" cy="419100"/>
          </a:xfrm>
        </p:spPr>
        <p:txBody>
          <a:bodyPr/>
          <a:lstStyle/>
          <a:p>
            <a:r>
              <a:rPr lang="en-US" dirty="0"/>
              <a:t>Cruise descent vs. early descent (cont’d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39E2DB-EC41-41B9-B022-7B79ED9F6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39" y="741150"/>
            <a:ext cx="11317161" cy="5119255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2000" dirty="0"/>
              <a:t>What to watch out for in Cruise Descent:</a:t>
            </a:r>
          </a:p>
          <a:p>
            <a:pPr marL="573088" lvl="1" indent="-342900"/>
            <a:r>
              <a:rPr lang="en-US" sz="2000" dirty="0"/>
              <a:t>Cruise Descent makes no attempt to meet the cruise altitude constraint</a:t>
            </a:r>
          </a:p>
          <a:p>
            <a:pPr marL="873125" lvl="2" indent="-342900">
              <a:spcAft>
                <a:spcPts val="0"/>
              </a:spcAft>
            </a:pPr>
            <a:r>
              <a:rPr lang="en-US" sz="1600" dirty="0"/>
              <a:t>Workaround: Use FLCH, VS. or FPA mode to descend faster than -1000 fpm</a:t>
            </a:r>
          </a:p>
          <a:p>
            <a:pPr marL="573088" lvl="1" indent="-342900">
              <a:spcBef>
                <a:spcPts val="1200"/>
              </a:spcBef>
            </a:pPr>
            <a:r>
              <a:rPr lang="en-US" sz="2000" dirty="0"/>
              <a:t>Performing a DIR-TO beyond the cruise altitude target which is being targeted will cause an FMS reset, preventing DIR-TO operation to be completed</a:t>
            </a:r>
          </a:p>
          <a:p>
            <a:pPr marL="873125" lvl="2" indent="-342900">
              <a:spcAft>
                <a:spcPts val="0"/>
              </a:spcAft>
            </a:pPr>
            <a:r>
              <a:rPr lang="en-US" sz="1600" dirty="0"/>
              <a:t>SIL D202406004397</a:t>
            </a:r>
          </a:p>
          <a:p>
            <a:pPr marL="873125" lvl="2" indent="-342900">
              <a:spcAft>
                <a:spcPts val="0"/>
              </a:spcAft>
            </a:pPr>
            <a:r>
              <a:rPr lang="en-US" sz="1600" dirty="0"/>
              <a:t>Only affects GVI Blk 3</a:t>
            </a:r>
          </a:p>
          <a:p>
            <a:pPr marL="873125" lvl="2" indent="-342900">
              <a:spcAft>
                <a:spcPts val="0"/>
              </a:spcAft>
            </a:pPr>
            <a:endParaRPr lang="en-US" sz="1600" dirty="0"/>
          </a:p>
          <a:p>
            <a:pPr lvl="1" indent="0">
              <a:spcAft>
                <a:spcPts val="0"/>
              </a:spcAft>
              <a:buNone/>
            </a:pPr>
            <a:endParaRPr lang="en-US" sz="2000" dirty="0"/>
          </a:p>
          <a:p>
            <a:pPr marL="573088" lvl="1" indent="-342900">
              <a:spcAft>
                <a:spcPts val="0"/>
              </a:spcAft>
            </a:pPr>
            <a:endParaRPr lang="en-US" sz="2000" dirty="0"/>
          </a:p>
          <a:p>
            <a:pPr marL="573088" lvl="1" indent="-342900">
              <a:spcAft>
                <a:spcPts val="0"/>
              </a:spcAft>
            </a:pPr>
            <a:endParaRPr lang="en-US" sz="2000" dirty="0"/>
          </a:p>
          <a:p>
            <a:pPr marL="573088" lvl="1" indent="-342900">
              <a:spcAft>
                <a:spcPts val="0"/>
              </a:spcAft>
            </a:pPr>
            <a:endParaRPr lang="en-US" sz="2000" dirty="0"/>
          </a:p>
          <a:p>
            <a:pPr marL="573088" lvl="1" indent="-342900">
              <a:spcAft>
                <a:spcPts val="0"/>
              </a:spcAft>
            </a:pPr>
            <a:endParaRPr lang="en-US" sz="2000" b="1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7B5B5-1A38-4AFB-8A9A-4C4C62BCA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4456566-375E-484C-A85E-712770795D6D}"/>
              </a:ext>
            </a:extLst>
          </p:cNvPr>
          <p:cNvSpPr/>
          <p:nvPr/>
        </p:nvSpPr>
        <p:spPr>
          <a:xfrm>
            <a:off x="2164080" y="4424732"/>
            <a:ext cx="3058160" cy="1981200"/>
          </a:xfrm>
          <a:custGeom>
            <a:avLst/>
            <a:gdLst>
              <a:gd name="connsiteX0" fmla="*/ 0 w 3058160"/>
              <a:gd name="connsiteY0" fmla="*/ 0 h 1981200"/>
              <a:gd name="connsiteX1" fmla="*/ 1950720 w 3058160"/>
              <a:gd name="connsiteY1" fmla="*/ 1026160 h 1981200"/>
              <a:gd name="connsiteX2" fmla="*/ 1391920 w 3058160"/>
              <a:gd name="connsiteY2" fmla="*/ 1117600 h 1981200"/>
              <a:gd name="connsiteX3" fmla="*/ 3058160 w 3058160"/>
              <a:gd name="connsiteY3" fmla="*/ 1981200 h 198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8160" h="1981200">
                <a:moveTo>
                  <a:pt x="0" y="0"/>
                </a:moveTo>
                <a:cubicBezTo>
                  <a:pt x="859366" y="419946"/>
                  <a:pt x="1718733" y="839893"/>
                  <a:pt x="1950720" y="1026160"/>
                </a:cubicBezTo>
                <a:cubicBezTo>
                  <a:pt x="2182707" y="1212427"/>
                  <a:pt x="1207347" y="958427"/>
                  <a:pt x="1391920" y="1117600"/>
                </a:cubicBezTo>
                <a:cubicBezTo>
                  <a:pt x="1576493" y="1276773"/>
                  <a:pt x="2711027" y="1867747"/>
                  <a:pt x="3058160" y="198120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EDB5A2-8D0A-488C-8072-DC21D82A6EDE}"/>
              </a:ext>
            </a:extLst>
          </p:cNvPr>
          <p:cNvPicPr/>
          <p:nvPr/>
        </p:nvPicPr>
        <p:blipFill rotWithShape="1">
          <a:blip r:embed="rId2"/>
          <a:srcRect t="927"/>
          <a:stretch/>
        </p:blipFill>
        <p:spPr bwMode="auto">
          <a:xfrm>
            <a:off x="923925" y="3267074"/>
            <a:ext cx="10382153" cy="32688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EA2E13A-4AB7-4278-9182-811EC3E93618}"/>
              </a:ext>
            </a:extLst>
          </p:cNvPr>
          <p:cNvCxnSpPr/>
          <p:nvPr/>
        </p:nvCxnSpPr>
        <p:spPr>
          <a:xfrm>
            <a:off x="1533463" y="5077541"/>
            <a:ext cx="878840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966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20F7941-2E02-47FA-BD4A-BCA6CD1F6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22050"/>
            <a:ext cx="11201401" cy="419100"/>
          </a:xfrm>
        </p:spPr>
        <p:txBody>
          <a:bodyPr/>
          <a:lstStyle/>
          <a:p>
            <a:r>
              <a:rPr lang="en-US" dirty="0"/>
              <a:t>Cruise descent vs. early descent (cont’d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39E2DB-EC41-41B9-B022-7B79ED9F6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19" y="834031"/>
            <a:ext cx="11102016" cy="1346375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2000" dirty="0"/>
              <a:t>What to watch out for in Early Descent:</a:t>
            </a:r>
          </a:p>
          <a:p>
            <a:pPr marL="573088" lvl="1" indent="-342900"/>
            <a:r>
              <a:rPr lang="en-US" sz="2000" dirty="0"/>
              <a:t>Even after leveling off at preselector, FMS trajectory prediction assumes immediate descent at -1000 fpm until reaching a descent constraint or descent path</a:t>
            </a:r>
          </a:p>
          <a:p>
            <a:pPr marL="873125" lvl="2" indent="-342900">
              <a:spcAft>
                <a:spcPts val="0"/>
              </a:spcAft>
            </a:pPr>
            <a:r>
              <a:rPr lang="en-US" sz="1600" dirty="0"/>
              <a:t>Workaround: Enter the current altitude as the cruise altitude if staying level after an early descent</a:t>
            </a:r>
            <a:endParaRPr lang="en-US" sz="2000" b="1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7B5B5-1A38-4AFB-8A9A-4C4C62BCA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A2D5D178-7984-40EE-A425-506CF210C4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463" y="3231919"/>
            <a:ext cx="3719977" cy="3367055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84DEA388-3F01-48AC-B0F2-1CB25DC371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1816" y="4650499"/>
            <a:ext cx="2305901" cy="1933594"/>
          </a:xfrm>
          <a:prstGeom prst="rect">
            <a:avLst/>
          </a:prstGeom>
        </p:spPr>
      </p:pic>
      <p:grpSp>
        <p:nvGrpSpPr>
          <p:cNvPr id="77" name="Group 76">
            <a:extLst>
              <a:ext uri="{FF2B5EF4-FFF2-40B4-BE49-F238E27FC236}">
                <a16:creationId xmlns:a16="http://schemas.microsoft.com/office/drawing/2014/main" id="{7BDF78E8-9725-4EC7-AD76-CC0B38E27EBE}"/>
              </a:ext>
            </a:extLst>
          </p:cNvPr>
          <p:cNvGrpSpPr/>
          <p:nvPr/>
        </p:nvGrpSpPr>
        <p:grpSpPr>
          <a:xfrm>
            <a:off x="1524454" y="2166223"/>
            <a:ext cx="10416611" cy="3315845"/>
            <a:chOff x="396591" y="2426857"/>
            <a:chExt cx="11608473" cy="3941127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E86A572-B0C5-418F-97E5-313DB0DD5668}"/>
                </a:ext>
              </a:extLst>
            </p:cNvPr>
            <p:cNvGrpSpPr/>
            <p:nvPr/>
          </p:nvGrpSpPr>
          <p:grpSpPr>
            <a:xfrm>
              <a:off x="396591" y="2426857"/>
              <a:ext cx="11608473" cy="3941127"/>
              <a:chOff x="40991" y="2426857"/>
              <a:chExt cx="11608473" cy="3941127"/>
            </a:xfrm>
          </p:grpSpPr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10C12CC8-444E-4695-80E0-611E6E46381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743766" y="3085425"/>
                <a:ext cx="3264192" cy="3049374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Left Brace 10">
                <a:extLst>
                  <a:ext uri="{FF2B5EF4-FFF2-40B4-BE49-F238E27FC236}">
                    <a16:creationId xmlns:a16="http://schemas.microsoft.com/office/drawing/2014/main" id="{358EBE70-9706-43DC-B11E-641D5BA21FB2}"/>
                  </a:ext>
                </a:extLst>
              </p:cNvPr>
              <p:cNvSpPr/>
              <p:nvPr/>
            </p:nvSpPr>
            <p:spPr>
              <a:xfrm rot="5400000">
                <a:off x="4330975" y="-260822"/>
                <a:ext cx="342445" cy="6331298"/>
              </a:xfrm>
              <a:prstGeom prst="leftBrace">
                <a:avLst>
                  <a:gd name="adj1" fmla="val 100758"/>
                  <a:gd name="adj2" fmla="val 50000"/>
                </a:avLst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7E85CF0-6032-4923-A3CB-8841C39F7484}"/>
                  </a:ext>
                </a:extLst>
              </p:cNvPr>
              <p:cNvSpPr txBox="1"/>
              <p:nvPr/>
            </p:nvSpPr>
            <p:spPr>
              <a:xfrm>
                <a:off x="7460320" y="2651367"/>
                <a:ext cx="48314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dirty="0"/>
                  <a:t>TOD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B0747764-103D-4211-B11F-42EF67B7A144}"/>
                  </a:ext>
                </a:extLst>
              </p:cNvPr>
              <p:cNvSpPr txBox="1"/>
              <p:nvPr/>
            </p:nvSpPr>
            <p:spPr>
              <a:xfrm>
                <a:off x="3282744" y="2426857"/>
                <a:ext cx="223138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dirty="0"/>
                  <a:t>Early Descent Region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94C72402-2451-4AE6-B563-C93E7C212D27}"/>
                  </a:ext>
                </a:extLst>
              </p:cNvPr>
              <p:cNvSpPr txBox="1"/>
              <p:nvPr/>
            </p:nvSpPr>
            <p:spPr>
              <a:xfrm>
                <a:off x="6724923" y="5141388"/>
                <a:ext cx="1692771" cy="277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dirty="0">
                    <a:solidFill>
                      <a:srgbClr val="FF0000"/>
                    </a:solidFill>
                  </a:rPr>
                  <a:t>Predicted Profile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BDF21CF-01B5-4B14-AE5A-CF034306E556}"/>
                  </a:ext>
                </a:extLst>
              </p:cNvPr>
              <p:cNvSpPr txBox="1"/>
              <p:nvPr/>
            </p:nvSpPr>
            <p:spPr>
              <a:xfrm>
                <a:off x="6020154" y="3431792"/>
                <a:ext cx="1859483" cy="277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dirty="0">
                    <a:solidFill>
                      <a:srgbClr val="00B050"/>
                    </a:solidFill>
                  </a:rPr>
                  <a:t>Actual Path Flown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EFD9E63B-5C7E-4D2E-A6BF-95F0A99861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 rot="20849911">
                <a:off x="2859692" y="3160889"/>
                <a:ext cx="921110" cy="266912"/>
              </a:xfrm>
              <a:prstGeom prst="rect">
                <a:avLst/>
              </a:prstGeom>
            </p:spPr>
          </p:pic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EA2E13A-4AB7-4278-9182-811EC3E9361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336548" y="3380168"/>
                <a:ext cx="6725357" cy="3238"/>
              </a:xfrm>
              <a:prstGeom prst="line">
                <a:avLst/>
              </a:prstGeom>
              <a:ln w="9525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Flowchart: Collate 8">
                <a:extLst>
                  <a:ext uri="{FF2B5EF4-FFF2-40B4-BE49-F238E27FC236}">
                    <a16:creationId xmlns:a16="http://schemas.microsoft.com/office/drawing/2014/main" id="{FE568F25-A2B9-4CBA-940F-F582874E97AC}"/>
                  </a:ext>
                </a:extLst>
              </p:cNvPr>
              <p:cNvSpPr/>
              <p:nvPr/>
            </p:nvSpPr>
            <p:spPr>
              <a:xfrm>
                <a:off x="10274911" y="5412748"/>
                <a:ext cx="235876" cy="291450"/>
              </a:xfrm>
              <a:prstGeom prst="flowChartCol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Flowchart: Collate 29">
                <a:extLst>
                  <a:ext uri="{FF2B5EF4-FFF2-40B4-BE49-F238E27FC236}">
                    <a16:creationId xmlns:a16="http://schemas.microsoft.com/office/drawing/2014/main" id="{6A0D71F3-BCAD-4F46-AF36-62C89651BA8D}"/>
                  </a:ext>
                </a:extLst>
              </p:cNvPr>
              <p:cNvSpPr/>
              <p:nvPr/>
            </p:nvSpPr>
            <p:spPr>
              <a:xfrm>
                <a:off x="10783105" y="5881036"/>
                <a:ext cx="228196" cy="278650"/>
              </a:xfrm>
              <a:prstGeom prst="flowChartCollate">
                <a:avLst/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6A55F477-92C1-4DF0-99CB-5F0F9B96864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16172" y="6248953"/>
                <a:ext cx="733292" cy="0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74D3C61-5DC9-4C67-ACB4-3D9E8D383C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16172" y="6367984"/>
                <a:ext cx="733292" cy="0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628383F8-4A66-4929-894B-87271C581F98}"/>
                  </a:ext>
                </a:extLst>
              </p:cNvPr>
              <p:cNvCxnSpPr>
                <a:cxnSpLocks/>
                <a:stCxn id="30" idx="1"/>
              </p:cNvCxnSpPr>
              <p:nvPr/>
            </p:nvCxnSpPr>
            <p:spPr>
              <a:xfrm flipH="1" flipV="1">
                <a:off x="8015509" y="3354636"/>
                <a:ext cx="2881694" cy="2665725"/>
              </a:xfrm>
              <a:prstGeom prst="straightConnector1">
                <a:avLst/>
              </a:prstGeom>
              <a:ln w="38100">
                <a:solidFill>
                  <a:srgbClr val="00B05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51B4E966-2C33-4A88-9481-36411362B1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82294" y="3093075"/>
                <a:ext cx="433709" cy="283940"/>
              </a:xfrm>
              <a:prstGeom prst="straightConnector1">
                <a:avLst/>
              </a:prstGeom>
              <a:ln w="38100">
                <a:solidFill>
                  <a:srgbClr val="00B05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Arrow Connector 55">
                <a:extLst>
                  <a:ext uri="{FF2B5EF4-FFF2-40B4-BE49-F238E27FC236}">
                    <a16:creationId xmlns:a16="http://schemas.microsoft.com/office/drawing/2014/main" id="{C26C586C-6A8C-49DA-A2FE-B5CB26820388}"/>
                  </a:ext>
                </a:extLst>
              </p:cNvPr>
              <p:cNvCxnSpPr>
                <a:cxnSpLocks/>
                <a:stCxn id="9" idx="1"/>
              </p:cNvCxnSpPr>
              <p:nvPr/>
            </p:nvCxnSpPr>
            <p:spPr>
              <a:xfrm flipH="1">
                <a:off x="6744894" y="5558474"/>
                <a:ext cx="3647955" cy="0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1F49E41A-C8B7-4163-86B2-E7F56ADB7EF9}"/>
                  </a:ext>
                </a:extLst>
              </p:cNvPr>
              <p:cNvSpPr txBox="1"/>
              <p:nvPr/>
            </p:nvSpPr>
            <p:spPr>
              <a:xfrm>
                <a:off x="40991" y="3194224"/>
                <a:ext cx="1166987" cy="27700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dirty="0"/>
                  <a:t>Preselector</a:t>
                </a:r>
              </a:p>
            </p:txBody>
          </p:sp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25846FC3-69AB-478D-812C-B21247A6A43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47115" y="3082835"/>
                <a:ext cx="6808141" cy="13201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Flowchart: Decision 11">
                <a:extLst>
                  <a:ext uri="{FF2B5EF4-FFF2-40B4-BE49-F238E27FC236}">
                    <a16:creationId xmlns:a16="http://schemas.microsoft.com/office/drawing/2014/main" id="{A2DE8C06-EFC7-4208-97F3-BEF0E840659D}"/>
                  </a:ext>
                </a:extLst>
              </p:cNvPr>
              <p:cNvSpPr/>
              <p:nvPr/>
            </p:nvSpPr>
            <p:spPr>
              <a:xfrm>
                <a:off x="7571309" y="2918825"/>
                <a:ext cx="261169" cy="342446"/>
              </a:xfrm>
              <a:prstGeom prst="flowChartDecision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E62EFF95-EDF3-4544-93B2-7E4A6D5B790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40076" y="3377015"/>
                <a:ext cx="3404819" cy="2181459"/>
              </a:xfrm>
              <a:prstGeom prst="straightConnector1">
                <a:avLst/>
              </a:prstGeom>
              <a:ln w="38100">
                <a:solidFill>
                  <a:srgbClr val="FF000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D07707A4-C35C-431B-82C9-07DBA12F5F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96786" y="3367431"/>
                <a:ext cx="6065119" cy="9583"/>
              </a:xfrm>
              <a:prstGeom prst="straightConnector1">
                <a:avLst/>
              </a:prstGeom>
              <a:ln w="38100">
                <a:solidFill>
                  <a:srgbClr val="00B050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5A19952-EB12-4FD5-9BBC-EC4CC264A28B}"/>
                </a:ext>
              </a:extLst>
            </p:cNvPr>
            <p:cNvSpPr txBox="1"/>
            <p:nvPr/>
          </p:nvSpPr>
          <p:spPr>
            <a:xfrm>
              <a:off x="511288" y="2891539"/>
              <a:ext cx="679738" cy="2770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dirty="0" err="1"/>
                <a:t>Crz</a:t>
              </a:r>
              <a:r>
                <a:rPr lang="en-US" dirty="0"/>
                <a:t> Al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15453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20F7941-2E02-47FA-BD4A-BCA6CD1F6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322050"/>
            <a:ext cx="11201401" cy="419100"/>
          </a:xfrm>
        </p:spPr>
        <p:txBody>
          <a:bodyPr/>
          <a:lstStyle/>
          <a:p>
            <a:r>
              <a:rPr lang="en-US" dirty="0"/>
              <a:t>Auto NAV Preview Improvemen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39E2DB-EC41-41B9-B022-7B79ED9F69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1349" y="1051030"/>
            <a:ext cx="10689551" cy="5119255"/>
          </a:xfrm>
        </p:spPr>
        <p:txBody>
          <a:bodyPr>
            <a:normAutofit/>
          </a:bodyPr>
          <a:lstStyle/>
          <a:p>
            <a:pPr lvl="1"/>
            <a:r>
              <a:rPr lang="en-US" sz="2300" dirty="0"/>
              <a:t>FMS initiates an auto-NAV preview when following conditions are satisfied: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FMS is the selected navigation source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Aircraft is within 75nm along track and 40nm direct distance from the destination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Localizer-based approach is in FMS flight plan</a:t>
            </a:r>
          </a:p>
          <a:p>
            <a:pPr marL="800100" lvl="3" indent="-342900">
              <a:buFont typeface="+mj-lt"/>
              <a:buAutoNum type="arabicPeriod"/>
            </a:pPr>
            <a:r>
              <a:rPr lang="en-US" sz="1900" dirty="0"/>
              <a:t>NAV radio is auto-tuned to the approach frequency</a:t>
            </a:r>
          </a:p>
          <a:p>
            <a:pPr lvl="1"/>
            <a:r>
              <a:rPr lang="en-US" sz="2300" dirty="0"/>
              <a:t>Several in-service reports of auto-NAV preview failure were due to pilots manually tuning the approach (i.e., Condition #4 not satisfied)</a:t>
            </a:r>
          </a:p>
          <a:p>
            <a:pPr lvl="1"/>
            <a:r>
              <a:rPr lang="en-US" sz="2300" dirty="0"/>
              <a:t>Questions for GCC Members</a:t>
            </a:r>
          </a:p>
          <a:p>
            <a:pPr lvl="2"/>
            <a:r>
              <a:rPr lang="en-US" dirty="0"/>
              <a:t>Should auto-NAV preview be allowed if NAV is manually tuned to the correct approach frequency?</a:t>
            </a:r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67B5B5-1A38-4AFB-8A9A-4C4C62BCA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4456566-375E-484C-A85E-712770795D6D}"/>
              </a:ext>
            </a:extLst>
          </p:cNvPr>
          <p:cNvSpPr/>
          <p:nvPr/>
        </p:nvSpPr>
        <p:spPr>
          <a:xfrm>
            <a:off x="2164080" y="4424732"/>
            <a:ext cx="3058160" cy="1981200"/>
          </a:xfrm>
          <a:custGeom>
            <a:avLst/>
            <a:gdLst>
              <a:gd name="connsiteX0" fmla="*/ 0 w 3058160"/>
              <a:gd name="connsiteY0" fmla="*/ 0 h 1981200"/>
              <a:gd name="connsiteX1" fmla="*/ 1950720 w 3058160"/>
              <a:gd name="connsiteY1" fmla="*/ 1026160 h 1981200"/>
              <a:gd name="connsiteX2" fmla="*/ 1391920 w 3058160"/>
              <a:gd name="connsiteY2" fmla="*/ 1117600 h 1981200"/>
              <a:gd name="connsiteX3" fmla="*/ 3058160 w 3058160"/>
              <a:gd name="connsiteY3" fmla="*/ 1981200 h 198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58160" h="1981200">
                <a:moveTo>
                  <a:pt x="0" y="0"/>
                </a:moveTo>
                <a:cubicBezTo>
                  <a:pt x="859366" y="419946"/>
                  <a:pt x="1718733" y="839893"/>
                  <a:pt x="1950720" y="1026160"/>
                </a:cubicBezTo>
                <a:cubicBezTo>
                  <a:pt x="2182707" y="1212427"/>
                  <a:pt x="1207347" y="958427"/>
                  <a:pt x="1391920" y="1117600"/>
                </a:cubicBezTo>
                <a:cubicBezTo>
                  <a:pt x="1576493" y="1276773"/>
                  <a:pt x="2711027" y="1867747"/>
                  <a:pt x="3058160" y="1981200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340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CA24AC-F86E-A313-947B-6EE67A367B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6085E57-1807-D50D-23EF-751B745FB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833" y="284792"/>
            <a:ext cx="11357297" cy="419100"/>
          </a:xfrm>
        </p:spPr>
        <p:txBody>
          <a:bodyPr/>
          <a:lstStyle/>
          <a:p>
            <a:r>
              <a:rPr lang="en-US" dirty="0"/>
              <a:t>Arrival Procedure Remova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B4B365-5054-5D72-274B-416F497B65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527" y="739947"/>
            <a:ext cx="4791650" cy="5542021"/>
          </a:xfrm>
        </p:spPr>
        <p:txBody>
          <a:bodyPr>
            <a:normAutofit/>
          </a:bodyPr>
          <a:lstStyle/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STARs listed in the table are removed from NavDB for the following aircraft:</a:t>
            </a:r>
          </a:p>
          <a:p>
            <a:pPr marL="515938" lvl="1" indent="-285750">
              <a:buClr>
                <a:srgbClr val="FF0000"/>
              </a:buClr>
              <a:buFont typeface="Courier New" panose="02070309020205020404" pitchFamily="49" charset="0"/>
              <a:buChar char="o"/>
            </a:pPr>
            <a:r>
              <a:rPr lang="en-US" sz="1400" b="0" dirty="0"/>
              <a:t>GVI</a:t>
            </a:r>
          </a:p>
          <a:p>
            <a:pPr marL="515938" lvl="1" indent="-285750">
              <a:buClr>
                <a:srgbClr val="FF0000"/>
              </a:buClr>
              <a:buFont typeface="Courier New" panose="02070309020205020404" pitchFamily="49" charset="0"/>
              <a:buChar char="o"/>
            </a:pPr>
            <a:r>
              <a:rPr lang="en-US" sz="1400" b="0" dirty="0"/>
              <a:t>GVII</a:t>
            </a:r>
          </a:p>
          <a:p>
            <a:pPr marL="515938" lvl="1" indent="-285750">
              <a:buClr>
                <a:srgbClr val="FF0000"/>
              </a:buClr>
              <a:buFont typeface="Courier New" panose="02070309020205020404" pitchFamily="49" charset="0"/>
              <a:buChar char="o"/>
            </a:pPr>
            <a:r>
              <a:rPr lang="en-US" sz="1400" dirty="0"/>
              <a:t>Falcon 8X with EASy III</a:t>
            </a:r>
            <a:endParaRPr lang="en-US" sz="1400" b="0" dirty="0"/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Removal was due to VNAV’s failure to level off at the level segment at the end of STAR in some cases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This is SIL D201011000003 Item T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Underlying software issue has been resolved for GVII Blk 2, GVIII, and Falcon 8X with EASy IV 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For aircraft with software fix, the procedures are restored</a:t>
            </a:r>
          </a:p>
          <a:p>
            <a:pPr marL="228600" indent="-2286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1800" b="0" dirty="0"/>
              <a:t>For aircraft without software fix, a new Database Modification (DM) logic is being explored which will mitigate the level-off issue without procedure remov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/>
          </a:p>
          <a:p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BEB804-3EF3-9DB7-99CA-F23810EDD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3717" y="6480165"/>
            <a:ext cx="496945" cy="237617"/>
          </a:xfrm>
        </p:spPr>
        <p:txBody>
          <a:bodyPr/>
          <a:lstStyle/>
          <a:p>
            <a:fld id="{7B94EC18-1D2B-4535-B738-0E53AFE26620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63F851F-7909-46CF-A7FF-C1A4856F156B}"/>
              </a:ext>
            </a:extLst>
          </p:cNvPr>
          <p:cNvGrpSpPr/>
          <p:nvPr/>
        </p:nvGrpSpPr>
        <p:grpSpPr>
          <a:xfrm>
            <a:off x="5138634" y="3748575"/>
            <a:ext cx="6693713" cy="2731590"/>
            <a:chOff x="4596170" y="1714500"/>
            <a:chExt cx="6693713" cy="273159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23B1F73-B221-25A5-6DB6-0BDAD9714938}"/>
                </a:ext>
              </a:extLst>
            </p:cNvPr>
            <p:cNvGrpSpPr/>
            <p:nvPr/>
          </p:nvGrpSpPr>
          <p:grpSpPr>
            <a:xfrm>
              <a:off x="4613808" y="1996458"/>
              <a:ext cx="6550557" cy="1898062"/>
              <a:chOff x="2765048" y="3840675"/>
              <a:chExt cx="6893999" cy="1908121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F129C24-5689-6A3B-38D9-D4A418D5CF8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856915" y="5729833"/>
                <a:ext cx="5802132" cy="18963"/>
              </a:xfrm>
              <a:prstGeom prst="line">
                <a:avLst/>
              </a:prstGeom>
              <a:ln w="25400">
                <a:solidFill>
                  <a:srgbClr val="7030A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99028FE0-3AE3-2DCA-7977-775D1138EB0F}"/>
                  </a:ext>
                </a:extLst>
              </p:cNvPr>
              <p:cNvSpPr txBox="1"/>
              <p:nvPr/>
            </p:nvSpPr>
            <p:spPr>
              <a:xfrm>
                <a:off x="8043363" y="5111545"/>
                <a:ext cx="347855" cy="18328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1200" dirty="0"/>
                  <a:t>FAF</a:t>
                </a:r>
              </a:p>
            </p:txBody>
          </p: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7CE8F49A-99E4-A948-01E5-2D9D7E2F14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57981" y="5445512"/>
                <a:ext cx="1444173" cy="0"/>
              </a:xfrm>
              <a:prstGeom prst="straightConnector1">
                <a:avLst/>
              </a:prstGeom>
              <a:ln w="3175">
                <a:solidFill>
                  <a:schemeClr val="tx1"/>
                </a:solidFill>
                <a:headEnd w="lg" len="lg"/>
                <a:tailEnd type="non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7299FB79-7610-4F0C-35D2-96A994A62A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 rot="21298088">
                <a:off x="2765048" y="3840675"/>
                <a:ext cx="864018" cy="440571"/>
              </a:xfrm>
              <a:prstGeom prst="rect">
                <a:avLst/>
              </a:prstGeom>
            </p:spPr>
          </p:pic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992A12FF-E5CA-8160-3259-F8ABEBB5764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592886" y="4181161"/>
                <a:ext cx="1208733" cy="274894"/>
              </a:xfrm>
              <a:prstGeom prst="line">
                <a:avLst/>
              </a:prstGeom>
              <a:ln w="254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1BC5FEE-7966-5601-83A3-F691937F0C8D}"/>
                </a:ext>
              </a:extLst>
            </p:cNvPr>
            <p:cNvSpPr txBox="1"/>
            <p:nvPr/>
          </p:nvSpPr>
          <p:spPr>
            <a:xfrm>
              <a:off x="4762429" y="3777366"/>
              <a:ext cx="101319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rgbClr val="7030A0"/>
                  </a:solidFill>
                </a:rPr>
                <a:t>Preselector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FB21BAD4-B214-1116-D222-3901BF86E2DB}"/>
                </a:ext>
              </a:extLst>
            </p:cNvPr>
            <p:cNvCxnSpPr>
              <a:cxnSpLocks/>
            </p:cNvCxnSpPr>
            <p:nvPr/>
          </p:nvCxnSpPr>
          <p:spPr>
            <a:xfrm>
              <a:off x="8278852" y="2582542"/>
              <a:ext cx="0" cy="617407"/>
            </a:xfrm>
            <a:prstGeom prst="straightConnector1">
              <a:avLst/>
            </a:prstGeom>
            <a:ln w="3175">
              <a:solidFill>
                <a:schemeClr val="tx1"/>
              </a:solidFill>
              <a:prstDash val="lgDash"/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A78E5CA-2843-A19B-7DAB-7CEC68D11C6C}"/>
                </a:ext>
              </a:extLst>
            </p:cNvPr>
            <p:cNvSpPr txBox="1"/>
            <p:nvPr/>
          </p:nvSpPr>
          <p:spPr>
            <a:xfrm>
              <a:off x="8310398" y="2833472"/>
              <a:ext cx="141500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Vertical Discontinuity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15B724E-6665-AD27-0C78-67203DAC36A3}"/>
                </a:ext>
              </a:extLst>
            </p:cNvPr>
            <p:cNvSpPr/>
            <p:nvPr/>
          </p:nvSpPr>
          <p:spPr>
            <a:xfrm>
              <a:off x="4596170" y="1714500"/>
              <a:ext cx="6693713" cy="2731590"/>
            </a:xfrm>
            <a:prstGeom prst="rect">
              <a:avLst/>
            </a:prstGeom>
            <a:no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C3C4FFE3-FAF4-E42A-C510-3D3AAA748379}"/>
                </a:ext>
              </a:extLst>
            </p:cNvPr>
            <p:cNvSpPr txBox="1"/>
            <p:nvPr/>
          </p:nvSpPr>
          <p:spPr>
            <a:xfrm>
              <a:off x="6344219" y="2880657"/>
              <a:ext cx="119005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solidFill>
                    <a:srgbClr val="FF0000"/>
                  </a:solidFill>
                </a:rPr>
                <a:t>Aircraft may fail to level off</a:t>
              </a:r>
            </a:p>
          </p:txBody>
        </p:sp>
        <p:sp>
          <p:nvSpPr>
            <p:cNvPr id="8" name="Flowchart: Collate 7">
              <a:extLst>
                <a:ext uri="{FF2B5EF4-FFF2-40B4-BE49-F238E27FC236}">
                  <a16:creationId xmlns:a16="http://schemas.microsoft.com/office/drawing/2014/main" id="{A9478439-D376-B7D6-11DE-73CEB2FE188C}"/>
                </a:ext>
              </a:extLst>
            </p:cNvPr>
            <p:cNvSpPr/>
            <p:nvPr/>
          </p:nvSpPr>
          <p:spPr>
            <a:xfrm>
              <a:off x="6459278" y="2469866"/>
              <a:ext cx="187934" cy="269389"/>
            </a:xfrm>
            <a:prstGeom prst="flowChartCollat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9AC33D5-9121-1EDF-6194-3DA9708CA3B1}"/>
                </a:ext>
              </a:extLst>
            </p:cNvPr>
            <p:cNvCxnSpPr>
              <a:cxnSpLocks/>
              <a:stCxn id="11" idx="1"/>
            </p:cNvCxnSpPr>
            <p:nvPr/>
          </p:nvCxnSpPr>
          <p:spPr>
            <a:xfrm flipH="1" flipV="1">
              <a:off x="6553246" y="2607298"/>
              <a:ext cx="1725606" cy="1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Flowchart: Collate 10">
              <a:extLst>
                <a:ext uri="{FF2B5EF4-FFF2-40B4-BE49-F238E27FC236}">
                  <a16:creationId xmlns:a16="http://schemas.microsoft.com/office/drawing/2014/main" id="{62D91694-9D3C-FE72-803F-7B0532DA35E0}"/>
                </a:ext>
              </a:extLst>
            </p:cNvPr>
            <p:cNvSpPr/>
            <p:nvPr/>
          </p:nvSpPr>
          <p:spPr>
            <a:xfrm>
              <a:off x="8184885" y="2472604"/>
              <a:ext cx="187934" cy="269389"/>
            </a:xfrm>
            <a:prstGeom prst="flowChartCollat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4F1CC2C-0FD2-393D-63BD-D22736484B1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281147" y="3199949"/>
              <a:ext cx="1473507" cy="39207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Flowchart: Collate 31">
              <a:extLst>
                <a:ext uri="{FF2B5EF4-FFF2-40B4-BE49-F238E27FC236}">
                  <a16:creationId xmlns:a16="http://schemas.microsoft.com/office/drawing/2014/main" id="{7833B5B1-553C-8A2C-AA06-3BDA7D231664}"/>
                </a:ext>
              </a:extLst>
            </p:cNvPr>
            <p:cNvSpPr/>
            <p:nvPr/>
          </p:nvSpPr>
          <p:spPr>
            <a:xfrm>
              <a:off x="9683084" y="3450803"/>
              <a:ext cx="187934" cy="269389"/>
            </a:xfrm>
            <a:prstGeom prst="flowChartCollat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E018C74C-3F38-7C9A-2B85-C0B9D847206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9767315" y="3587191"/>
              <a:ext cx="1473507" cy="39207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DDB7627B-7F97-1417-43FA-09A66D43686D}"/>
                </a:ext>
              </a:extLst>
            </p:cNvPr>
            <p:cNvSpPr/>
            <p:nvPr/>
          </p:nvSpPr>
          <p:spPr>
            <a:xfrm>
              <a:off x="8910775" y="3311544"/>
              <a:ext cx="419293" cy="387241"/>
            </a:xfrm>
            <a:prstGeom prst="arc">
              <a:avLst>
                <a:gd name="adj1" fmla="val 9463625"/>
                <a:gd name="adj2" fmla="val 12864225"/>
              </a:avLst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027158A-62DE-83A7-C4A5-58C1A6213C98}"/>
                </a:ext>
              </a:extLst>
            </p:cNvPr>
            <p:cNvSpPr txBox="1"/>
            <p:nvPr/>
          </p:nvSpPr>
          <p:spPr>
            <a:xfrm>
              <a:off x="8511678" y="3381450"/>
              <a:ext cx="33052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200" dirty="0"/>
                <a:t>GPA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4FD2D98-BA12-9C21-CBB4-14F66F46C100}"/>
                </a:ext>
              </a:extLst>
            </p:cNvPr>
            <p:cNvSpPr txBox="1"/>
            <p:nvPr/>
          </p:nvSpPr>
          <p:spPr>
            <a:xfrm>
              <a:off x="7819975" y="2163726"/>
              <a:ext cx="98084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Last STAR Fix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6415BF7-3ECA-CF6B-BE0D-89AFBB7C5BFF}"/>
                </a:ext>
              </a:extLst>
            </p:cNvPr>
            <p:cNvSpPr txBox="1"/>
            <p:nvPr/>
          </p:nvSpPr>
          <p:spPr>
            <a:xfrm>
              <a:off x="6904691" y="2419740"/>
              <a:ext cx="102271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200" dirty="0"/>
                <a:t>Level Segment</a:t>
              </a: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F5FC4D29-1632-6700-C58F-F15DBD36A908}"/>
                </a:ext>
              </a:extLst>
            </p:cNvPr>
            <p:cNvSpPr/>
            <p:nvPr/>
          </p:nvSpPr>
          <p:spPr>
            <a:xfrm>
              <a:off x="5987276" y="2632737"/>
              <a:ext cx="1190053" cy="486203"/>
            </a:xfrm>
            <a:prstGeom prst="arc">
              <a:avLst>
                <a:gd name="adj1" fmla="val 16345002"/>
                <a:gd name="adj2" fmla="val 0"/>
              </a:avLst>
            </a:prstGeom>
            <a:ln w="22225">
              <a:solidFill>
                <a:srgbClr val="FF0000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FE302DF4-E298-D2A9-0651-98E2D5C678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387727"/>
              </p:ext>
            </p:extLst>
          </p:nvPr>
        </p:nvGraphicFramePr>
        <p:xfrm>
          <a:off x="6351099" y="780618"/>
          <a:ext cx="4406298" cy="278701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13952">
                  <a:extLst>
                    <a:ext uri="{9D8B030D-6E8A-4147-A177-3AD203B41FA5}">
                      <a16:colId xmlns:a16="http://schemas.microsoft.com/office/drawing/2014/main" val="846169539"/>
                    </a:ext>
                  </a:extLst>
                </a:gridCol>
                <a:gridCol w="3292346">
                  <a:extLst>
                    <a:ext uri="{9D8B030D-6E8A-4147-A177-3AD203B41FA5}">
                      <a16:colId xmlns:a16="http://schemas.microsoft.com/office/drawing/2014/main" val="2859021777"/>
                    </a:ext>
                  </a:extLst>
                </a:gridCol>
              </a:tblGrid>
              <a:tr h="2180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STA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Airport(s)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23707332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CLMNT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06FA, F4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6089787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RISH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BWI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00923676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ROLLN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CL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0764044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SHRT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EFD, KGLS, KHOU, KLBX, KSG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99282887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OLAHS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FX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44920130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EMMLN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HH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04662938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KARLB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ONT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10808050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BHHIA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OPF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80524611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>
                          <a:effectLst/>
                        </a:rPr>
                        <a:t>COMIX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SAN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69800712"/>
                  </a:ext>
                </a:extLst>
              </a:tr>
              <a:tr h="21805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DSNEE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KSNA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784681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56136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a9x3VQ68rPHEqmxHY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iR8j.2IS0ACQX.YAv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2019" id="{717712E7-7998-4B50-B744-37050895922C}" vid="{0C6850F8-8147-4F12-9D2E-DA7E694013DC}"/>
    </a:ext>
  </a:extLst>
</a:theme>
</file>

<file path=ppt/theme/theme2.xml><?xml version="1.0" encoding="utf-8"?>
<a:theme xmlns:a="http://schemas.openxmlformats.org/drawingml/2006/main" name="1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9525" cmpd="sng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16x9 Wide PPT Template V3.1" id="{48A0B700-8A5D-4958-BBA9-B410774BDA2B}" vid="{995436D2-9346-4D51-A09D-F55015F90102}"/>
    </a:ext>
  </a:extLst>
</a:theme>
</file>

<file path=ppt/theme/theme3.xml><?xml version="1.0" encoding="utf-8"?>
<a:theme xmlns:a="http://schemas.openxmlformats.org/drawingml/2006/main" name="1_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>
            <a:solidFill>
              <a:prstClr val="black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-PowerPoint-Template-16x9.pptx" id="{E274421C-9DB6-4BA4-969A-CA71868A6475}" vid="{E815523F-F8E1-40F3-90DD-748D13D905A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A5FEEDE-1AE2-4D2C-9474-DB0BBEF9C9E6}"/>
</file>

<file path=customXml/itemProps2.xml><?xml version="1.0" encoding="utf-8"?>
<ds:datastoreItem xmlns:ds="http://schemas.openxmlformats.org/officeDocument/2006/customXml" ds:itemID="{78BA8003-64DA-403C-975A-E7ABE8FEF5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27F8B7-B6F6-4183-9838-3B3E042538B7}">
  <ds:schemaRefs>
    <ds:schemaRef ds:uri="http://purl.org/dc/elements/1.1/"/>
    <ds:schemaRef ds:uri="http://schemas.microsoft.com/office/2006/documentManagement/types"/>
    <ds:schemaRef ds:uri="29ac57f7-de40-417c-8ce8-e0a419868d26"/>
    <ds:schemaRef ds:uri="http://schemas.microsoft.com/office/infopath/2007/PartnerControls"/>
    <ds:schemaRef ds:uri="http://purl.org/dc/terms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oneywell 2019</Template>
  <TotalTime>27858</TotalTime>
  <Words>912</Words>
  <Application>Microsoft Office PowerPoint</Application>
  <PresentationFormat>Widescreen</PresentationFormat>
  <Paragraphs>17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Arial Black</vt:lpstr>
      <vt:lpstr>Calibri</vt:lpstr>
      <vt:lpstr>Courier New</vt:lpstr>
      <vt:lpstr>Helvetica Neue</vt:lpstr>
      <vt:lpstr>HelveticaNeue MediumCond</vt:lpstr>
      <vt:lpstr>Wingdings</vt:lpstr>
      <vt:lpstr>Honeywell 2019</vt:lpstr>
      <vt:lpstr>1_Honeywell Theme</vt:lpstr>
      <vt:lpstr>1_Honeywell 2019</vt:lpstr>
      <vt:lpstr>think-cell Slide</vt:lpstr>
      <vt:lpstr>NGFMS USERS FORUM</vt:lpstr>
      <vt:lpstr>AGENDA</vt:lpstr>
      <vt:lpstr>VGP capture Improvement</vt:lpstr>
      <vt:lpstr>VDEV Pointer Jump</vt:lpstr>
      <vt:lpstr>Cruise descent vs. early descent</vt:lpstr>
      <vt:lpstr>Cruise descent vs. early descent (cont’d)</vt:lpstr>
      <vt:lpstr>Cruise descent vs. early descent (cont’d)</vt:lpstr>
      <vt:lpstr>Auto NAV Preview Improvement</vt:lpstr>
      <vt:lpstr>Arrival Procedure Removal</vt:lpstr>
      <vt:lpstr>Status of Previously Presented Improvement Ideas</vt:lpstr>
      <vt:lpstr>Voice of the custom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GFMS USERS FORUM</dc:title>
  <dc:creator>Miyazaki, Yasutaka</dc:creator>
  <cp:lastModifiedBy>Miyazaki, Yasutaka</cp:lastModifiedBy>
  <cp:revision>238</cp:revision>
  <dcterms:created xsi:type="dcterms:W3CDTF">2019-10-02T00:42:06Z</dcterms:created>
  <dcterms:modified xsi:type="dcterms:W3CDTF">2024-11-09T01:1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2-05-12T02:32:58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e5a0ff9c-bc1e-47a3-910f-2e1d08c68fc2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</Properties>
</file>